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9"/>
  </p:notesMasterIdLst>
  <p:sldIdLst>
    <p:sldId id="326" r:id="rId3"/>
    <p:sldId id="348" r:id="rId4"/>
    <p:sldId id="328" r:id="rId5"/>
    <p:sldId id="349" r:id="rId6"/>
    <p:sldId id="330" r:id="rId7"/>
    <p:sldId id="331" r:id="rId8"/>
    <p:sldId id="332" r:id="rId9"/>
    <p:sldId id="345" r:id="rId10"/>
    <p:sldId id="338" r:id="rId11"/>
    <p:sldId id="275" r:id="rId12"/>
    <p:sldId id="333" r:id="rId13"/>
    <p:sldId id="343" r:id="rId14"/>
    <p:sldId id="344" r:id="rId15"/>
    <p:sldId id="334" r:id="rId16"/>
    <p:sldId id="346" r:id="rId17"/>
    <p:sldId id="335" r:id="rId18"/>
    <p:sldId id="336" r:id="rId19"/>
    <p:sldId id="337" r:id="rId20"/>
    <p:sldId id="322" r:id="rId21"/>
    <p:sldId id="323" r:id="rId22"/>
    <p:sldId id="325" r:id="rId23"/>
    <p:sldId id="347" r:id="rId24"/>
    <p:sldId id="339" r:id="rId25"/>
    <p:sldId id="340" r:id="rId26"/>
    <p:sldId id="341" r:id="rId27"/>
    <p:sldId id="342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660"/>
  </p:normalViewPr>
  <p:slideViewPr>
    <p:cSldViewPr>
      <p:cViewPr>
        <p:scale>
          <a:sx n="53" d="100"/>
          <a:sy n="53" d="100"/>
        </p:scale>
        <p:origin x="-324" y="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95C377-C582-4573-929C-0D097B749D96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E783706-CD94-4B00-B2BC-1DA889ED0926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Admin</a:t>
          </a:r>
          <a:endParaRPr lang="en-US" sz="2800" b="1" dirty="0">
            <a:latin typeface="Candara" pitchFamily="34" charset="0"/>
          </a:endParaRPr>
        </a:p>
      </dgm:t>
    </dgm:pt>
    <dgm:pt modelId="{8D00F3E0-5A08-4479-8942-7C77AB6DE34B}" type="parTrans" cxnId="{A0AFE5C6-5A1E-451D-BB14-C61FC6D57BC4}">
      <dgm:prSet/>
      <dgm:spPr/>
      <dgm:t>
        <a:bodyPr/>
        <a:lstStyle/>
        <a:p>
          <a:endParaRPr lang="en-US"/>
        </a:p>
      </dgm:t>
    </dgm:pt>
    <dgm:pt modelId="{15E465F3-DB37-477E-8F4C-F91EC98FE166}" type="sibTrans" cxnId="{A0AFE5C6-5A1E-451D-BB14-C61FC6D57BC4}">
      <dgm:prSet/>
      <dgm:spPr/>
      <dgm:t>
        <a:bodyPr/>
        <a:lstStyle/>
        <a:p>
          <a:endParaRPr lang="en-US"/>
        </a:p>
      </dgm:t>
    </dgm:pt>
    <dgm:pt modelId="{ED3306B0-C032-426A-88B7-19D2D5491097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dirty="0" smtClean="0">
              <a:latin typeface="Candara" pitchFamily="34" charset="0"/>
            </a:rPr>
            <a:t>Add</a:t>
          </a:r>
          <a:endParaRPr lang="en-US" sz="2800" b="1" dirty="0">
            <a:latin typeface="Candara" pitchFamily="34" charset="0"/>
          </a:endParaRPr>
        </a:p>
      </dgm:t>
    </dgm:pt>
    <dgm:pt modelId="{6DAA3037-7DE2-4C94-BDE8-7250B74C082B}" type="parTrans" cxnId="{8213E052-8954-4053-A789-18EFF10B0C1C}">
      <dgm:prSet/>
      <dgm:spPr/>
      <dgm:t>
        <a:bodyPr/>
        <a:lstStyle/>
        <a:p>
          <a:endParaRPr lang="en-US"/>
        </a:p>
      </dgm:t>
    </dgm:pt>
    <dgm:pt modelId="{D00903AE-A61D-4160-9AC8-6FB7BBF060D3}" type="sibTrans" cxnId="{8213E052-8954-4053-A789-18EFF10B0C1C}">
      <dgm:prSet/>
      <dgm:spPr/>
      <dgm:t>
        <a:bodyPr/>
        <a:lstStyle/>
        <a:p>
          <a:endParaRPr lang="en-US"/>
        </a:p>
      </dgm:t>
    </dgm:pt>
    <dgm:pt modelId="{D9B8D249-CCCA-4B06-AE28-DA750D94D771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smtClean="0">
              <a:latin typeface="Candara" pitchFamily="34" charset="0"/>
            </a:rPr>
            <a:t>Update</a:t>
          </a:r>
          <a:endParaRPr lang="en-US" sz="2800" b="1" dirty="0">
            <a:latin typeface="Candara" pitchFamily="34" charset="0"/>
          </a:endParaRPr>
        </a:p>
      </dgm:t>
    </dgm:pt>
    <dgm:pt modelId="{43304407-4007-42C1-84A5-13C6E4D4CDD7}" type="parTrans" cxnId="{4A97563F-6CB5-4603-BF8C-C390AD6E0BBB}">
      <dgm:prSet/>
      <dgm:spPr/>
      <dgm:t>
        <a:bodyPr/>
        <a:lstStyle/>
        <a:p>
          <a:endParaRPr lang="en-US"/>
        </a:p>
      </dgm:t>
    </dgm:pt>
    <dgm:pt modelId="{66991EFA-FF10-45A8-8EDA-2B4D1810B6B7}" type="sibTrans" cxnId="{4A97563F-6CB5-4603-BF8C-C390AD6E0BBB}">
      <dgm:prSet/>
      <dgm:spPr/>
      <dgm:t>
        <a:bodyPr/>
        <a:lstStyle/>
        <a:p>
          <a:endParaRPr lang="en-US"/>
        </a:p>
      </dgm:t>
    </dgm:pt>
    <dgm:pt modelId="{BCF4E12F-419F-4EFE-A74B-16E5400A393F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2800" b="1" smtClean="0">
              <a:latin typeface="Candara" pitchFamily="34" charset="0"/>
            </a:rPr>
            <a:t>Delete</a:t>
          </a:r>
          <a:endParaRPr lang="en-US" sz="2800" b="1" dirty="0">
            <a:latin typeface="Candara" pitchFamily="34" charset="0"/>
          </a:endParaRPr>
        </a:p>
      </dgm:t>
    </dgm:pt>
    <dgm:pt modelId="{D119B881-BF74-4D7C-A216-FE52F5F53646}" type="parTrans" cxnId="{A682192A-4B72-4F66-8622-CBC9D25B9FB1}">
      <dgm:prSet/>
      <dgm:spPr/>
      <dgm:t>
        <a:bodyPr/>
        <a:lstStyle/>
        <a:p>
          <a:endParaRPr lang="en-US"/>
        </a:p>
      </dgm:t>
    </dgm:pt>
    <dgm:pt modelId="{094F115C-1253-4DEE-BBAA-88BD2E073322}" type="sibTrans" cxnId="{A682192A-4B72-4F66-8622-CBC9D25B9FB1}">
      <dgm:prSet/>
      <dgm:spPr/>
      <dgm:t>
        <a:bodyPr/>
        <a:lstStyle/>
        <a:p>
          <a:endParaRPr lang="en-US"/>
        </a:p>
      </dgm:t>
    </dgm:pt>
    <dgm:pt modelId="{FAA4CA8D-4A5A-42A1-84F2-AB02D6B22DF5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FE9D973D-CE7B-43A6-978E-BD1D40807882}" type="parTrans" cxnId="{C310D674-61C8-4ECE-A60C-21D252896A7D}">
      <dgm:prSet/>
      <dgm:spPr/>
      <dgm:t>
        <a:bodyPr/>
        <a:lstStyle/>
        <a:p>
          <a:endParaRPr lang="en-US"/>
        </a:p>
      </dgm:t>
    </dgm:pt>
    <dgm:pt modelId="{ED3BE8F0-4937-4A16-AC49-845390D44EDD}" type="sibTrans" cxnId="{C310D674-61C8-4ECE-A60C-21D252896A7D}">
      <dgm:prSet/>
      <dgm:spPr/>
      <dgm:t>
        <a:bodyPr/>
        <a:lstStyle/>
        <a:p>
          <a:endParaRPr lang="en-US"/>
        </a:p>
      </dgm:t>
    </dgm:pt>
    <dgm:pt modelId="{81FA49C8-5AFD-4FD8-AA75-6F0755C32012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288129F6-FC72-4318-861C-70998AB5B1C0}" type="parTrans" cxnId="{82C07A92-2D5A-4408-A84C-3007D1801622}">
      <dgm:prSet/>
      <dgm:spPr/>
      <dgm:t>
        <a:bodyPr/>
        <a:lstStyle/>
        <a:p>
          <a:endParaRPr lang="en-US"/>
        </a:p>
      </dgm:t>
    </dgm:pt>
    <dgm:pt modelId="{87AA7CD2-03BF-4E83-8797-E3F527B29D96}" type="sibTrans" cxnId="{82C07A92-2D5A-4408-A84C-3007D1801622}">
      <dgm:prSet/>
      <dgm:spPr/>
      <dgm:t>
        <a:bodyPr/>
        <a:lstStyle/>
        <a:p>
          <a:endParaRPr lang="en-US"/>
        </a:p>
      </dgm:t>
    </dgm:pt>
    <dgm:pt modelId="{25146658-9801-467B-AB30-AC59E02CD813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318013FD-4363-47D8-8789-0D694F003725}" type="sibTrans" cxnId="{75DD705C-142D-4BDE-AAA8-AAAE65BE5BE8}">
      <dgm:prSet/>
      <dgm:spPr/>
      <dgm:t>
        <a:bodyPr/>
        <a:lstStyle/>
        <a:p>
          <a:endParaRPr lang="en-US"/>
        </a:p>
      </dgm:t>
    </dgm:pt>
    <dgm:pt modelId="{55DD2788-2810-43C6-AF11-7E66F37F562A}" type="parTrans" cxnId="{75DD705C-142D-4BDE-AAA8-AAAE65BE5BE8}">
      <dgm:prSet/>
      <dgm:spPr/>
      <dgm:t>
        <a:bodyPr/>
        <a:lstStyle/>
        <a:p>
          <a:endParaRPr lang="en-US"/>
        </a:p>
      </dgm:t>
    </dgm:pt>
    <dgm:pt modelId="{9657566C-77A4-4430-8AB6-BAD3BB5B6B89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BCE84075-70E5-4101-98E9-4F5F48222354}" type="sibTrans" cxnId="{0FF59599-D1A4-4726-A973-6FF7CF7435F1}">
      <dgm:prSet/>
      <dgm:spPr/>
      <dgm:t>
        <a:bodyPr/>
        <a:lstStyle/>
        <a:p>
          <a:endParaRPr lang="en-US"/>
        </a:p>
      </dgm:t>
    </dgm:pt>
    <dgm:pt modelId="{8F4E7CB8-7D97-4D25-B915-406D5CF696BE}" type="parTrans" cxnId="{0FF59599-D1A4-4726-A973-6FF7CF7435F1}">
      <dgm:prSet/>
      <dgm:spPr/>
      <dgm:t>
        <a:bodyPr/>
        <a:lstStyle/>
        <a:p>
          <a:endParaRPr lang="en-US"/>
        </a:p>
      </dgm:t>
    </dgm:pt>
    <dgm:pt modelId="{E317A1B1-9EDE-465F-BA87-2F0EC678D83A}" type="pres">
      <dgm:prSet presAssocID="{6795C377-C582-4573-929C-0D097B749D96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3AE26FC-6A93-42F9-97B1-582EC282BCB5}" type="pres">
      <dgm:prSet presAssocID="{2E783706-CD94-4B00-B2BC-1DA889ED0926}" presName="root1" presStyleCnt="0"/>
      <dgm:spPr/>
    </dgm:pt>
    <dgm:pt modelId="{7424DD0C-4CF0-43BC-B084-693FCDF8F553}" type="pres">
      <dgm:prSet presAssocID="{2E783706-CD94-4B00-B2BC-1DA889ED0926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52EBFD3-E7D2-48D6-B54E-87F4A653F7A2}" type="pres">
      <dgm:prSet presAssocID="{2E783706-CD94-4B00-B2BC-1DA889ED0926}" presName="level2hierChild" presStyleCnt="0"/>
      <dgm:spPr/>
    </dgm:pt>
    <dgm:pt modelId="{FD87950B-4E8F-4C74-BDD6-4E61F5B5C7D8}" type="pres">
      <dgm:prSet presAssocID="{6DAA3037-7DE2-4C94-BDE8-7250B74C082B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79854BF5-7897-4642-B33B-B2FB68225875}" type="pres">
      <dgm:prSet presAssocID="{6DAA3037-7DE2-4C94-BDE8-7250B74C082B}" presName="connTx" presStyleLbl="parChTrans1D2" presStyleIdx="0" presStyleCnt="3"/>
      <dgm:spPr/>
      <dgm:t>
        <a:bodyPr/>
        <a:lstStyle/>
        <a:p>
          <a:endParaRPr lang="en-US"/>
        </a:p>
      </dgm:t>
    </dgm:pt>
    <dgm:pt modelId="{111522DB-32D2-40A5-BBE1-CDA25F591FD2}" type="pres">
      <dgm:prSet presAssocID="{ED3306B0-C032-426A-88B7-19D2D5491097}" presName="root2" presStyleCnt="0"/>
      <dgm:spPr/>
    </dgm:pt>
    <dgm:pt modelId="{7F54B4CC-114B-48C7-B079-06621F228BC3}" type="pres">
      <dgm:prSet presAssocID="{ED3306B0-C032-426A-88B7-19D2D5491097}" presName="LevelTwoTextNode" presStyleLbl="node2" presStyleIdx="0" presStyleCnt="3" custLinFactNeighborX="1472" custLinFactNeighborY="-993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00E23C1-AC7C-4CDC-B229-5F328B574B05}" type="pres">
      <dgm:prSet presAssocID="{ED3306B0-C032-426A-88B7-19D2D5491097}" presName="level3hierChild" presStyleCnt="0"/>
      <dgm:spPr/>
    </dgm:pt>
    <dgm:pt modelId="{6A3CF635-21F9-41DB-89F7-334E54D1122C}" type="pres">
      <dgm:prSet presAssocID="{55DD2788-2810-43C6-AF11-7E66F37F562A}" presName="conn2-1" presStyleLbl="parChTrans1D3" presStyleIdx="0" presStyleCnt="4"/>
      <dgm:spPr/>
      <dgm:t>
        <a:bodyPr/>
        <a:lstStyle/>
        <a:p>
          <a:endParaRPr lang="en-US"/>
        </a:p>
      </dgm:t>
    </dgm:pt>
    <dgm:pt modelId="{17023228-68EC-497F-96D0-54BE052DBC94}" type="pres">
      <dgm:prSet presAssocID="{55DD2788-2810-43C6-AF11-7E66F37F562A}" presName="connTx" presStyleLbl="parChTrans1D3" presStyleIdx="0" presStyleCnt="4"/>
      <dgm:spPr/>
      <dgm:t>
        <a:bodyPr/>
        <a:lstStyle/>
        <a:p>
          <a:endParaRPr lang="en-US"/>
        </a:p>
      </dgm:t>
    </dgm:pt>
    <dgm:pt modelId="{062F4C10-C528-4571-9A52-0028965403F4}" type="pres">
      <dgm:prSet presAssocID="{25146658-9801-467B-AB30-AC59E02CD813}" presName="root2" presStyleCnt="0"/>
      <dgm:spPr/>
    </dgm:pt>
    <dgm:pt modelId="{BAA03515-FF7D-49BC-9865-D8A9FAE629BB}" type="pres">
      <dgm:prSet presAssocID="{25146658-9801-467B-AB30-AC59E02CD813}" presName="LevelTwoTextNode" presStyleLbl="node3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2CD44AC-E4C5-4D9D-B239-11720200ACB2}" type="pres">
      <dgm:prSet presAssocID="{25146658-9801-467B-AB30-AC59E02CD813}" presName="level3hierChild" presStyleCnt="0"/>
      <dgm:spPr/>
    </dgm:pt>
    <dgm:pt modelId="{64695E6B-5FF3-43F8-93E3-AD0B55F654C8}" type="pres">
      <dgm:prSet presAssocID="{8F4E7CB8-7D97-4D25-B915-406D5CF696BE}" presName="conn2-1" presStyleLbl="parChTrans1D3" presStyleIdx="1" presStyleCnt="4"/>
      <dgm:spPr/>
      <dgm:t>
        <a:bodyPr/>
        <a:lstStyle/>
        <a:p>
          <a:endParaRPr lang="en-US"/>
        </a:p>
      </dgm:t>
    </dgm:pt>
    <dgm:pt modelId="{D701EB16-B87B-44C3-BB10-152D6089387C}" type="pres">
      <dgm:prSet presAssocID="{8F4E7CB8-7D97-4D25-B915-406D5CF696BE}" presName="connTx" presStyleLbl="parChTrans1D3" presStyleIdx="1" presStyleCnt="4"/>
      <dgm:spPr/>
      <dgm:t>
        <a:bodyPr/>
        <a:lstStyle/>
        <a:p>
          <a:endParaRPr lang="en-US"/>
        </a:p>
      </dgm:t>
    </dgm:pt>
    <dgm:pt modelId="{32CEBADC-E871-4113-BDCD-AAE6D1209107}" type="pres">
      <dgm:prSet presAssocID="{9657566C-77A4-4430-8AB6-BAD3BB5B6B89}" presName="root2" presStyleCnt="0"/>
      <dgm:spPr/>
    </dgm:pt>
    <dgm:pt modelId="{0E70CBDB-9D50-43FF-BC64-8691A0DD4EE1}" type="pres">
      <dgm:prSet presAssocID="{9657566C-77A4-4430-8AB6-BAD3BB5B6B89}" presName="LevelTwoTextNode" presStyleLbl="node3" presStyleIdx="1" presStyleCnt="4" custLinFactNeighborX="-972" custLinFactNeighborY="-81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A2EFE53-4757-4384-AD3C-DDB27696C89F}" type="pres">
      <dgm:prSet presAssocID="{9657566C-77A4-4430-8AB6-BAD3BB5B6B89}" presName="level3hierChild" presStyleCnt="0"/>
      <dgm:spPr/>
    </dgm:pt>
    <dgm:pt modelId="{20E08445-CEA1-4B13-B0A1-55ECF1453D26}" type="pres">
      <dgm:prSet presAssocID="{43304407-4007-42C1-84A5-13C6E4D4CDD7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DB63111-F642-4551-809E-123A8241E5A1}" type="pres">
      <dgm:prSet presAssocID="{43304407-4007-42C1-84A5-13C6E4D4CDD7}" presName="connTx" presStyleLbl="parChTrans1D2" presStyleIdx="1" presStyleCnt="3"/>
      <dgm:spPr/>
      <dgm:t>
        <a:bodyPr/>
        <a:lstStyle/>
        <a:p>
          <a:endParaRPr lang="en-US"/>
        </a:p>
      </dgm:t>
    </dgm:pt>
    <dgm:pt modelId="{AFF02C6E-E5BE-4617-9986-0D0F22CBBE57}" type="pres">
      <dgm:prSet presAssocID="{D9B8D249-CCCA-4B06-AE28-DA750D94D771}" presName="root2" presStyleCnt="0"/>
      <dgm:spPr/>
    </dgm:pt>
    <dgm:pt modelId="{07475B80-5E8B-48F3-8957-8808AB0FCA62}" type="pres">
      <dgm:prSet presAssocID="{D9B8D249-CCCA-4B06-AE28-DA750D94D771}" presName="LevelTwoTextNode" presStyleLbl="node2" presStyleIdx="1" presStyleCnt="3" custLinFactNeighborX="2944" custLinFactNeighborY="-356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F0F4180-5026-4CFC-BA72-6319CD51D403}" type="pres">
      <dgm:prSet presAssocID="{D9B8D249-CCCA-4B06-AE28-DA750D94D771}" presName="level3hierChild" presStyleCnt="0"/>
      <dgm:spPr/>
    </dgm:pt>
    <dgm:pt modelId="{A639F305-37F7-4B70-9908-5F6F0D858380}" type="pres">
      <dgm:prSet presAssocID="{FE9D973D-CE7B-43A6-978E-BD1D40807882}" presName="conn2-1" presStyleLbl="parChTrans1D3" presStyleIdx="2" presStyleCnt="4"/>
      <dgm:spPr/>
      <dgm:t>
        <a:bodyPr/>
        <a:lstStyle/>
        <a:p>
          <a:endParaRPr lang="en-US"/>
        </a:p>
      </dgm:t>
    </dgm:pt>
    <dgm:pt modelId="{5D6B9451-B904-42BA-92D4-1CE79ABAC984}" type="pres">
      <dgm:prSet presAssocID="{FE9D973D-CE7B-43A6-978E-BD1D40807882}" presName="connTx" presStyleLbl="parChTrans1D3" presStyleIdx="2" presStyleCnt="4"/>
      <dgm:spPr/>
      <dgm:t>
        <a:bodyPr/>
        <a:lstStyle/>
        <a:p>
          <a:endParaRPr lang="en-US"/>
        </a:p>
      </dgm:t>
    </dgm:pt>
    <dgm:pt modelId="{7E3D09D6-D237-4FD0-844E-7007509939BF}" type="pres">
      <dgm:prSet presAssocID="{FAA4CA8D-4A5A-42A1-84F2-AB02D6B22DF5}" presName="root2" presStyleCnt="0"/>
      <dgm:spPr/>
    </dgm:pt>
    <dgm:pt modelId="{C7A2A90B-5EF3-4246-B9EF-8F34C4121B75}" type="pres">
      <dgm:prSet presAssocID="{FAA4CA8D-4A5A-42A1-84F2-AB02D6B22DF5}" presName="LevelTwoTextNode" presStyleLbl="node3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889710A-9591-4154-87BD-458765D41159}" type="pres">
      <dgm:prSet presAssocID="{FAA4CA8D-4A5A-42A1-84F2-AB02D6B22DF5}" presName="level3hierChild" presStyleCnt="0"/>
      <dgm:spPr/>
    </dgm:pt>
    <dgm:pt modelId="{272A0943-0322-47DF-966B-D649E405F93C}" type="pres">
      <dgm:prSet presAssocID="{D119B881-BF74-4D7C-A216-FE52F5F53646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6CD66AA5-6B1B-45F7-B78A-2CF1C2FB55B6}" type="pres">
      <dgm:prSet presAssocID="{D119B881-BF74-4D7C-A216-FE52F5F53646}" presName="connTx" presStyleLbl="parChTrans1D2" presStyleIdx="2" presStyleCnt="3"/>
      <dgm:spPr/>
      <dgm:t>
        <a:bodyPr/>
        <a:lstStyle/>
        <a:p>
          <a:endParaRPr lang="en-US"/>
        </a:p>
      </dgm:t>
    </dgm:pt>
    <dgm:pt modelId="{EC606D58-D7DE-4B04-9366-BD1F7995D3F4}" type="pres">
      <dgm:prSet presAssocID="{BCF4E12F-419F-4EFE-A74B-16E5400A393F}" presName="root2" presStyleCnt="0"/>
      <dgm:spPr/>
    </dgm:pt>
    <dgm:pt modelId="{CFC22410-DAE8-4192-B271-6971B6DEF6F5}" type="pres">
      <dgm:prSet presAssocID="{BCF4E12F-419F-4EFE-A74B-16E5400A393F}" presName="LevelTwoTextNode" presStyleLbl="node2" presStyleIdx="2" presStyleCnt="3" custLinFactNeighborX="736" custLinFactNeighborY="-1842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309EA3-577B-44D5-9408-44EE5DE05965}" type="pres">
      <dgm:prSet presAssocID="{BCF4E12F-419F-4EFE-A74B-16E5400A393F}" presName="level3hierChild" presStyleCnt="0"/>
      <dgm:spPr/>
    </dgm:pt>
    <dgm:pt modelId="{090DA268-5E02-4278-AC6D-CE8440B87EF1}" type="pres">
      <dgm:prSet presAssocID="{288129F6-FC72-4318-861C-70998AB5B1C0}" presName="conn2-1" presStyleLbl="parChTrans1D3" presStyleIdx="3" presStyleCnt="4"/>
      <dgm:spPr/>
      <dgm:t>
        <a:bodyPr/>
        <a:lstStyle/>
        <a:p>
          <a:endParaRPr lang="en-US"/>
        </a:p>
      </dgm:t>
    </dgm:pt>
    <dgm:pt modelId="{7710E5B5-EE75-42F5-9C2A-C033041C46B6}" type="pres">
      <dgm:prSet presAssocID="{288129F6-FC72-4318-861C-70998AB5B1C0}" presName="connTx" presStyleLbl="parChTrans1D3" presStyleIdx="3" presStyleCnt="4"/>
      <dgm:spPr/>
      <dgm:t>
        <a:bodyPr/>
        <a:lstStyle/>
        <a:p>
          <a:endParaRPr lang="en-US"/>
        </a:p>
      </dgm:t>
    </dgm:pt>
    <dgm:pt modelId="{CB362435-5FDA-4F16-87CD-3573DFB39CE1}" type="pres">
      <dgm:prSet presAssocID="{81FA49C8-5AFD-4FD8-AA75-6F0755C32012}" presName="root2" presStyleCnt="0"/>
      <dgm:spPr/>
    </dgm:pt>
    <dgm:pt modelId="{C757D30D-E0C4-4BDA-8118-DDF238262DEC}" type="pres">
      <dgm:prSet presAssocID="{81FA49C8-5AFD-4FD8-AA75-6F0755C32012}" presName="LevelTwoTextNode" presStyleLbl="node3" presStyleIdx="3" presStyleCnt="4" custLinFactNeighborX="-308" custLinFactNeighborY="1207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343B44B-D67E-4AC9-9C9A-AD4EA9258C48}" type="pres">
      <dgm:prSet presAssocID="{81FA49C8-5AFD-4FD8-AA75-6F0755C32012}" presName="level3hierChild" presStyleCnt="0"/>
      <dgm:spPr/>
    </dgm:pt>
  </dgm:ptLst>
  <dgm:cxnLst>
    <dgm:cxn modelId="{82C07A92-2D5A-4408-A84C-3007D1801622}" srcId="{BCF4E12F-419F-4EFE-A74B-16E5400A393F}" destId="{81FA49C8-5AFD-4FD8-AA75-6F0755C32012}" srcOrd="0" destOrd="0" parTransId="{288129F6-FC72-4318-861C-70998AB5B1C0}" sibTransId="{87AA7CD2-03BF-4E83-8797-E3F527B29D96}"/>
    <dgm:cxn modelId="{C310D674-61C8-4ECE-A60C-21D252896A7D}" srcId="{D9B8D249-CCCA-4B06-AE28-DA750D94D771}" destId="{FAA4CA8D-4A5A-42A1-84F2-AB02D6B22DF5}" srcOrd="0" destOrd="0" parTransId="{FE9D973D-CE7B-43A6-978E-BD1D40807882}" sibTransId="{ED3BE8F0-4937-4A16-AC49-845390D44EDD}"/>
    <dgm:cxn modelId="{606C358B-3987-4330-A712-BC74181AB175}" type="presOf" srcId="{FE9D973D-CE7B-43A6-978E-BD1D40807882}" destId="{A639F305-37F7-4B70-9908-5F6F0D858380}" srcOrd="0" destOrd="0" presId="urn:microsoft.com/office/officeart/2005/8/layout/hierarchy2"/>
    <dgm:cxn modelId="{0FF59599-D1A4-4726-A973-6FF7CF7435F1}" srcId="{ED3306B0-C032-426A-88B7-19D2D5491097}" destId="{9657566C-77A4-4430-8AB6-BAD3BB5B6B89}" srcOrd="1" destOrd="0" parTransId="{8F4E7CB8-7D97-4D25-B915-406D5CF696BE}" sibTransId="{BCE84075-70E5-4101-98E9-4F5F48222354}"/>
    <dgm:cxn modelId="{4A97563F-6CB5-4603-BF8C-C390AD6E0BBB}" srcId="{2E783706-CD94-4B00-B2BC-1DA889ED0926}" destId="{D9B8D249-CCCA-4B06-AE28-DA750D94D771}" srcOrd="1" destOrd="0" parTransId="{43304407-4007-42C1-84A5-13C6E4D4CDD7}" sibTransId="{66991EFA-FF10-45A8-8EDA-2B4D1810B6B7}"/>
    <dgm:cxn modelId="{016D342C-8781-4552-89EE-4B009C11871F}" type="presOf" srcId="{55DD2788-2810-43C6-AF11-7E66F37F562A}" destId="{6A3CF635-21F9-41DB-89F7-334E54D1122C}" srcOrd="0" destOrd="0" presId="urn:microsoft.com/office/officeart/2005/8/layout/hierarchy2"/>
    <dgm:cxn modelId="{BE856E1C-72D1-44F6-8074-4BF91F370BAE}" type="presOf" srcId="{81FA49C8-5AFD-4FD8-AA75-6F0755C32012}" destId="{C757D30D-E0C4-4BDA-8118-DDF238262DEC}" srcOrd="0" destOrd="0" presId="urn:microsoft.com/office/officeart/2005/8/layout/hierarchy2"/>
    <dgm:cxn modelId="{7DFA3A42-7545-4795-8AEA-BED182C7EC96}" type="presOf" srcId="{9657566C-77A4-4430-8AB6-BAD3BB5B6B89}" destId="{0E70CBDB-9D50-43FF-BC64-8691A0DD4EE1}" srcOrd="0" destOrd="0" presId="urn:microsoft.com/office/officeart/2005/8/layout/hierarchy2"/>
    <dgm:cxn modelId="{D65DA9BC-28B0-45DA-B50C-955D6E4993F6}" type="presOf" srcId="{ED3306B0-C032-426A-88B7-19D2D5491097}" destId="{7F54B4CC-114B-48C7-B079-06621F228BC3}" srcOrd="0" destOrd="0" presId="urn:microsoft.com/office/officeart/2005/8/layout/hierarchy2"/>
    <dgm:cxn modelId="{75DD705C-142D-4BDE-AAA8-AAAE65BE5BE8}" srcId="{ED3306B0-C032-426A-88B7-19D2D5491097}" destId="{25146658-9801-467B-AB30-AC59E02CD813}" srcOrd="0" destOrd="0" parTransId="{55DD2788-2810-43C6-AF11-7E66F37F562A}" sibTransId="{318013FD-4363-47D8-8789-0D694F003725}"/>
    <dgm:cxn modelId="{C204627D-8D5B-49E3-B691-4DA5F48A4D2A}" type="presOf" srcId="{288129F6-FC72-4318-861C-70998AB5B1C0}" destId="{090DA268-5E02-4278-AC6D-CE8440B87EF1}" srcOrd="0" destOrd="0" presId="urn:microsoft.com/office/officeart/2005/8/layout/hierarchy2"/>
    <dgm:cxn modelId="{46510159-04C8-4B91-819E-16AF499B1AA4}" type="presOf" srcId="{43304407-4007-42C1-84A5-13C6E4D4CDD7}" destId="{5DB63111-F642-4551-809E-123A8241E5A1}" srcOrd="1" destOrd="0" presId="urn:microsoft.com/office/officeart/2005/8/layout/hierarchy2"/>
    <dgm:cxn modelId="{8213E052-8954-4053-A789-18EFF10B0C1C}" srcId="{2E783706-CD94-4B00-B2BC-1DA889ED0926}" destId="{ED3306B0-C032-426A-88B7-19D2D5491097}" srcOrd="0" destOrd="0" parTransId="{6DAA3037-7DE2-4C94-BDE8-7250B74C082B}" sibTransId="{D00903AE-A61D-4160-9AC8-6FB7BBF060D3}"/>
    <dgm:cxn modelId="{686BEC6D-13ED-4EA3-B409-A169A481F13C}" type="presOf" srcId="{D9B8D249-CCCA-4B06-AE28-DA750D94D771}" destId="{07475B80-5E8B-48F3-8957-8808AB0FCA62}" srcOrd="0" destOrd="0" presId="urn:microsoft.com/office/officeart/2005/8/layout/hierarchy2"/>
    <dgm:cxn modelId="{FF389272-585E-4A1C-B274-023671F3E972}" type="presOf" srcId="{43304407-4007-42C1-84A5-13C6E4D4CDD7}" destId="{20E08445-CEA1-4B13-B0A1-55ECF1453D26}" srcOrd="0" destOrd="0" presId="urn:microsoft.com/office/officeart/2005/8/layout/hierarchy2"/>
    <dgm:cxn modelId="{743285F6-E4C0-4909-B026-BC0A8A1EA5FF}" type="presOf" srcId="{55DD2788-2810-43C6-AF11-7E66F37F562A}" destId="{17023228-68EC-497F-96D0-54BE052DBC94}" srcOrd="1" destOrd="0" presId="urn:microsoft.com/office/officeart/2005/8/layout/hierarchy2"/>
    <dgm:cxn modelId="{023683DB-B8B8-4568-A3F6-84A9085F6C81}" type="presOf" srcId="{BCF4E12F-419F-4EFE-A74B-16E5400A393F}" destId="{CFC22410-DAE8-4192-B271-6971B6DEF6F5}" srcOrd="0" destOrd="0" presId="urn:microsoft.com/office/officeart/2005/8/layout/hierarchy2"/>
    <dgm:cxn modelId="{2732BA17-8D2D-4462-8442-207BC64C14F7}" type="presOf" srcId="{6DAA3037-7DE2-4C94-BDE8-7250B74C082B}" destId="{FD87950B-4E8F-4C74-BDD6-4E61F5B5C7D8}" srcOrd="0" destOrd="0" presId="urn:microsoft.com/office/officeart/2005/8/layout/hierarchy2"/>
    <dgm:cxn modelId="{39D38CAE-2305-4D6E-8265-1F5E9E3C5C60}" type="presOf" srcId="{8F4E7CB8-7D97-4D25-B915-406D5CF696BE}" destId="{64695E6B-5FF3-43F8-93E3-AD0B55F654C8}" srcOrd="0" destOrd="0" presId="urn:microsoft.com/office/officeart/2005/8/layout/hierarchy2"/>
    <dgm:cxn modelId="{A0AFE5C6-5A1E-451D-BB14-C61FC6D57BC4}" srcId="{6795C377-C582-4573-929C-0D097B749D96}" destId="{2E783706-CD94-4B00-B2BC-1DA889ED0926}" srcOrd="0" destOrd="0" parTransId="{8D00F3E0-5A08-4479-8942-7C77AB6DE34B}" sibTransId="{15E465F3-DB37-477E-8F4C-F91EC98FE166}"/>
    <dgm:cxn modelId="{04BF8F6C-6444-44DA-8F06-6AB971CBC95E}" type="presOf" srcId="{D119B881-BF74-4D7C-A216-FE52F5F53646}" destId="{6CD66AA5-6B1B-45F7-B78A-2CF1C2FB55B6}" srcOrd="1" destOrd="0" presId="urn:microsoft.com/office/officeart/2005/8/layout/hierarchy2"/>
    <dgm:cxn modelId="{75D631F5-D58D-4048-854B-B8DF1FF5E5FD}" type="presOf" srcId="{288129F6-FC72-4318-861C-70998AB5B1C0}" destId="{7710E5B5-EE75-42F5-9C2A-C033041C46B6}" srcOrd="1" destOrd="0" presId="urn:microsoft.com/office/officeart/2005/8/layout/hierarchy2"/>
    <dgm:cxn modelId="{A682192A-4B72-4F66-8622-CBC9D25B9FB1}" srcId="{2E783706-CD94-4B00-B2BC-1DA889ED0926}" destId="{BCF4E12F-419F-4EFE-A74B-16E5400A393F}" srcOrd="2" destOrd="0" parTransId="{D119B881-BF74-4D7C-A216-FE52F5F53646}" sibTransId="{094F115C-1253-4DEE-BBAA-88BD2E073322}"/>
    <dgm:cxn modelId="{1670C4F2-42A3-48B9-B1F8-227B71F072AF}" type="presOf" srcId="{8F4E7CB8-7D97-4D25-B915-406D5CF696BE}" destId="{D701EB16-B87B-44C3-BB10-152D6089387C}" srcOrd="1" destOrd="0" presId="urn:microsoft.com/office/officeart/2005/8/layout/hierarchy2"/>
    <dgm:cxn modelId="{2DBAC748-89FB-4965-AB80-1EDA1D29D471}" type="presOf" srcId="{2E783706-CD94-4B00-B2BC-1DA889ED0926}" destId="{7424DD0C-4CF0-43BC-B084-693FCDF8F553}" srcOrd="0" destOrd="0" presId="urn:microsoft.com/office/officeart/2005/8/layout/hierarchy2"/>
    <dgm:cxn modelId="{1ACE785A-E0A3-4F63-B2E9-06CBCB13F72F}" type="presOf" srcId="{25146658-9801-467B-AB30-AC59E02CD813}" destId="{BAA03515-FF7D-49BC-9865-D8A9FAE629BB}" srcOrd="0" destOrd="0" presId="urn:microsoft.com/office/officeart/2005/8/layout/hierarchy2"/>
    <dgm:cxn modelId="{31E2FF52-F409-4022-B4A1-3D7DFD098CFE}" type="presOf" srcId="{FAA4CA8D-4A5A-42A1-84F2-AB02D6B22DF5}" destId="{C7A2A90B-5EF3-4246-B9EF-8F34C4121B75}" srcOrd="0" destOrd="0" presId="urn:microsoft.com/office/officeart/2005/8/layout/hierarchy2"/>
    <dgm:cxn modelId="{9D3A0295-CE71-4B05-A61B-E5AA2D7DF2D6}" type="presOf" srcId="{6DAA3037-7DE2-4C94-BDE8-7250B74C082B}" destId="{79854BF5-7897-4642-B33B-B2FB68225875}" srcOrd="1" destOrd="0" presId="urn:microsoft.com/office/officeart/2005/8/layout/hierarchy2"/>
    <dgm:cxn modelId="{17DF1BA4-2510-43C5-94DB-A0FE34C44B3B}" type="presOf" srcId="{6795C377-C582-4573-929C-0D097B749D96}" destId="{E317A1B1-9EDE-465F-BA87-2F0EC678D83A}" srcOrd="0" destOrd="0" presId="urn:microsoft.com/office/officeart/2005/8/layout/hierarchy2"/>
    <dgm:cxn modelId="{3641C41B-42EF-4DBF-9491-F248EFDA030E}" type="presOf" srcId="{FE9D973D-CE7B-43A6-978E-BD1D40807882}" destId="{5D6B9451-B904-42BA-92D4-1CE79ABAC984}" srcOrd="1" destOrd="0" presId="urn:microsoft.com/office/officeart/2005/8/layout/hierarchy2"/>
    <dgm:cxn modelId="{5296128C-C8CC-4D58-B0B6-6F0B3C30FB60}" type="presOf" srcId="{D119B881-BF74-4D7C-A216-FE52F5F53646}" destId="{272A0943-0322-47DF-966B-D649E405F93C}" srcOrd="0" destOrd="0" presId="urn:microsoft.com/office/officeart/2005/8/layout/hierarchy2"/>
    <dgm:cxn modelId="{303E37DC-B216-42AD-9095-03DB5B285BDB}" type="presParOf" srcId="{E317A1B1-9EDE-465F-BA87-2F0EC678D83A}" destId="{D3AE26FC-6A93-42F9-97B1-582EC282BCB5}" srcOrd="0" destOrd="0" presId="urn:microsoft.com/office/officeart/2005/8/layout/hierarchy2"/>
    <dgm:cxn modelId="{7790C6B0-BF4E-4D77-B75A-CCD2A65D5A7C}" type="presParOf" srcId="{D3AE26FC-6A93-42F9-97B1-582EC282BCB5}" destId="{7424DD0C-4CF0-43BC-B084-693FCDF8F553}" srcOrd="0" destOrd="0" presId="urn:microsoft.com/office/officeart/2005/8/layout/hierarchy2"/>
    <dgm:cxn modelId="{CAE0D30F-56D3-4086-B1EC-EFDDD958071D}" type="presParOf" srcId="{D3AE26FC-6A93-42F9-97B1-582EC282BCB5}" destId="{B52EBFD3-E7D2-48D6-B54E-87F4A653F7A2}" srcOrd="1" destOrd="0" presId="urn:microsoft.com/office/officeart/2005/8/layout/hierarchy2"/>
    <dgm:cxn modelId="{246D3518-7686-40BB-A400-5628FE7C8854}" type="presParOf" srcId="{B52EBFD3-E7D2-48D6-B54E-87F4A653F7A2}" destId="{FD87950B-4E8F-4C74-BDD6-4E61F5B5C7D8}" srcOrd="0" destOrd="0" presId="urn:microsoft.com/office/officeart/2005/8/layout/hierarchy2"/>
    <dgm:cxn modelId="{9EFBAB5E-5C52-43DF-B9C8-F9A987E29C77}" type="presParOf" srcId="{FD87950B-4E8F-4C74-BDD6-4E61F5B5C7D8}" destId="{79854BF5-7897-4642-B33B-B2FB68225875}" srcOrd="0" destOrd="0" presId="urn:microsoft.com/office/officeart/2005/8/layout/hierarchy2"/>
    <dgm:cxn modelId="{D80ED6BE-E2B4-4D14-B820-E520BB457591}" type="presParOf" srcId="{B52EBFD3-E7D2-48D6-B54E-87F4A653F7A2}" destId="{111522DB-32D2-40A5-BBE1-CDA25F591FD2}" srcOrd="1" destOrd="0" presId="urn:microsoft.com/office/officeart/2005/8/layout/hierarchy2"/>
    <dgm:cxn modelId="{702F5D44-C359-4487-82E1-E8C7B34D4114}" type="presParOf" srcId="{111522DB-32D2-40A5-BBE1-CDA25F591FD2}" destId="{7F54B4CC-114B-48C7-B079-06621F228BC3}" srcOrd="0" destOrd="0" presId="urn:microsoft.com/office/officeart/2005/8/layout/hierarchy2"/>
    <dgm:cxn modelId="{2475CD23-27C6-4CD3-931E-2F7D2D126ED9}" type="presParOf" srcId="{111522DB-32D2-40A5-BBE1-CDA25F591FD2}" destId="{100E23C1-AC7C-4CDC-B229-5F328B574B05}" srcOrd="1" destOrd="0" presId="urn:microsoft.com/office/officeart/2005/8/layout/hierarchy2"/>
    <dgm:cxn modelId="{707D2B71-70CC-4A19-B96C-7FFB81382A37}" type="presParOf" srcId="{100E23C1-AC7C-4CDC-B229-5F328B574B05}" destId="{6A3CF635-21F9-41DB-89F7-334E54D1122C}" srcOrd="0" destOrd="0" presId="urn:microsoft.com/office/officeart/2005/8/layout/hierarchy2"/>
    <dgm:cxn modelId="{FD078D82-F4D1-4805-A627-C3E90EB56F5D}" type="presParOf" srcId="{6A3CF635-21F9-41DB-89F7-334E54D1122C}" destId="{17023228-68EC-497F-96D0-54BE052DBC94}" srcOrd="0" destOrd="0" presId="urn:microsoft.com/office/officeart/2005/8/layout/hierarchy2"/>
    <dgm:cxn modelId="{ABD89F4A-6B28-4D50-93B9-3EE085C63875}" type="presParOf" srcId="{100E23C1-AC7C-4CDC-B229-5F328B574B05}" destId="{062F4C10-C528-4571-9A52-0028965403F4}" srcOrd="1" destOrd="0" presId="urn:microsoft.com/office/officeart/2005/8/layout/hierarchy2"/>
    <dgm:cxn modelId="{A4E31451-9CC1-4BDC-AE88-970D23FA20D0}" type="presParOf" srcId="{062F4C10-C528-4571-9A52-0028965403F4}" destId="{BAA03515-FF7D-49BC-9865-D8A9FAE629BB}" srcOrd="0" destOrd="0" presId="urn:microsoft.com/office/officeart/2005/8/layout/hierarchy2"/>
    <dgm:cxn modelId="{B95E1105-7A0D-404D-9865-CC3288389EFA}" type="presParOf" srcId="{062F4C10-C528-4571-9A52-0028965403F4}" destId="{F2CD44AC-E4C5-4D9D-B239-11720200ACB2}" srcOrd="1" destOrd="0" presId="urn:microsoft.com/office/officeart/2005/8/layout/hierarchy2"/>
    <dgm:cxn modelId="{5D378C4F-CD04-4457-B8A1-D06762F4B3A4}" type="presParOf" srcId="{100E23C1-AC7C-4CDC-B229-5F328B574B05}" destId="{64695E6B-5FF3-43F8-93E3-AD0B55F654C8}" srcOrd="2" destOrd="0" presId="urn:microsoft.com/office/officeart/2005/8/layout/hierarchy2"/>
    <dgm:cxn modelId="{EB7ACEC7-7BEE-4A75-BD88-F2D94FC97022}" type="presParOf" srcId="{64695E6B-5FF3-43F8-93E3-AD0B55F654C8}" destId="{D701EB16-B87B-44C3-BB10-152D6089387C}" srcOrd="0" destOrd="0" presId="urn:microsoft.com/office/officeart/2005/8/layout/hierarchy2"/>
    <dgm:cxn modelId="{65ACB31F-E3F7-40C7-B351-0A3A1204E3D9}" type="presParOf" srcId="{100E23C1-AC7C-4CDC-B229-5F328B574B05}" destId="{32CEBADC-E871-4113-BDCD-AAE6D1209107}" srcOrd="3" destOrd="0" presId="urn:microsoft.com/office/officeart/2005/8/layout/hierarchy2"/>
    <dgm:cxn modelId="{CBD3EF4E-8708-4136-AC91-F3012EE240AD}" type="presParOf" srcId="{32CEBADC-E871-4113-BDCD-AAE6D1209107}" destId="{0E70CBDB-9D50-43FF-BC64-8691A0DD4EE1}" srcOrd="0" destOrd="0" presId="urn:microsoft.com/office/officeart/2005/8/layout/hierarchy2"/>
    <dgm:cxn modelId="{AFE024CE-3CD9-4A50-A65C-1FA2608EA861}" type="presParOf" srcId="{32CEBADC-E871-4113-BDCD-AAE6D1209107}" destId="{8A2EFE53-4757-4384-AD3C-DDB27696C89F}" srcOrd="1" destOrd="0" presId="urn:microsoft.com/office/officeart/2005/8/layout/hierarchy2"/>
    <dgm:cxn modelId="{35F19A50-5EFC-4ADD-967B-E975F47544EF}" type="presParOf" srcId="{B52EBFD3-E7D2-48D6-B54E-87F4A653F7A2}" destId="{20E08445-CEA1-4B13-B0A1-55ECF1453D26}" srcOrd="2" destOrd="0" presId="urn:microsoft.com/office/officeart/2005/8/layout/hierarchy2"/>
    <dgm:cxn modelId="{AD23E13E-C74F-424E-ACF6-589F000528A9}" type="presParOf" srcId="{20E08445-CEA1-4B13-B0A1-55ECF1453D26}" destId="{5DB63111-F642-4551-809E-123A8241E5A1}" srcOrd="0" destOrd="0" presId="urn:microsoft.com/office/officeart/2005/8/layout/hierarchy2"/>
    <dgm:cxn modelId="{8913214F-FC8B-4761-908E-B7AC9A375B64}" type="presParOf" srcId="{B52EBFD3-E7D2-48D6-B54E-87F4A653F7A2}" destId="{AFF02C6E-E5BE-4617-9986-0D0F22CBBE57}" srcOrd="3" destOrd="0" presId="urn:microsoft.com/office/officeart/2005/8/layout/hierarchy2"/>
    <dgm:cxn modelId="{3F21E3C4-2C67-47DD-B3FF-AFD28CA7257B}" type="presParOf" srcId="{AFF02C6E-E5BE-4617-9986-0D0F22CBBE57}" destId="{07475B80-5E8B-48F3-8957-8808AB0FCA62}" srcOrd="0" destOrd="0" presId="urn:microsoft.com/office/officeart/2005/8/layout/hierarchy2"/>
    <dgm:cxn modelId="{C1D6EC22-0CD1-4736-9F76-BCC5AD050547}" type="presParOf" srcId="{AFF02C6E-E5BE-4617-9986-0D0F22CBBE57}" destId="{3F0F4180-5026-4CFC-BA72-6319CD51D403}" srcOrd="1" destOrd="0" presId="urn:microsoft.com/office/officeart/2005/8/layout/hierarchy2"/>
    <dgm:cxn modelId="{BE8E2F60-E82A-45C9-9E75-F514C831C26C}" type="presParOf" srcId="{3F0F4180-5026-4CFC-BA72-6319CD51D403}" destId="{A639F305-37F7-4B70-9908-5F6F0D858380}" srcOrd="0" destOrd="0" presId="urn:microsoft.com/office/officeart/2005/8/layout/hierarchy2"/>
    <dgm:cxn modelId="{C6B3EADE-3750-495A-A93F-CA19F0B8FFDF}" type="presParOf" srcId="{A639F305-37F7-4B70-9908-5F6F0D858380}" destId="{5D6B9451-B904-42BA-92D4-1CE79ABAC984}" srcOrd="0" destOrd="0" presId="urn:microsoft.com/office/officeart/2005/8/layout/hierarchy2"/>
    <dgm:cxn modelId="{5AD0CD07-7DDC-4FC7-8D17-BEE1C7F62F08}" type="presParOf" srcId="{3F0F4180-5026-4CFC-BA72-6319CD51D403}" destId="{7E3D09D6-D237-4FD0-844E-7007509939BF}" srcOrd="1" destOrd="0" presId="urn:microsoft.com/office/officeart/2005/8/layout/hierarchy2"/>
    <dgm:cxn modelId="{CC992D37-46E9-4774-AC00-A46ADDED1403}" type="presParOf" srcId="{7E3D09D6-D237-4FD0-844E-7007509939BF}" destId="{C7A2A90B-5EF3-4246-B9EF-8F34C4121B75}" srcOrd="0" destOrd="0" presId="urn:microsoft.com/office/officeart/2005/8/layout/hierarchy2"/>
    <dgm:cxn modelId="{4ADFC5E4-52E5-4067-B3C0-E76BC9FF1F94}" type="presParOf" srcId="{7E3D09D6-D237-4FD0-844E-7007509939BF}" destId="{F889710A-9591-4154-87BD-458765D41159}" srcOrd="1" destOrd="0" presId="urn:microsoft.com/office/officeart/2005/8/layout/hierarchy2"/>
    <dgm:cxn modelId="{5E20E437-7987-4016-BE54-7EFFF7CE511B}" type="presParOf" srcId="{B52EBFD3-E7D2-48D6-B54E-87F4A653F7A2}" destId="{272A0943-0322-47DF-966B-D649E405F93C}" srcOrd="4" destOrd="0" presId="urn:microsoft.com/office/officeart/2005/8/layout/hierarchy2"/>
    <dgm:cxn modelId="{4600FEBE-4B3F-4A28-822C-AFCAF834CF65}" type="presParOf" srcId="{272A0943-0322-47DF-966B-D649E405F93C}" destId="{6CD66AA5-6B1B-45F7-B78A-2CF1C2FB55B6}" srcOrd="0" destOrd="0" presId="urn:microsoft.com/office/officeart/2005/8/layout/hierarchy2"/>
    <dgm:cxn modelId="{7655CF98-D17E-47E4-A60D-86BA3E9E7981}" type="presParOf" srcId="{B52EBFD3-E7D2-48D6-B54E-87F4A653F7A2}" destId="{EC606D58-D7DE-4B04-9366-BD1F7995D3F4}" srcOrd="5" destOrd="0" presId="urn:microsoft.com/office/officeart/2005/8/layout/hierarchy2"/>
    <dgm:cxn modelId="{8500DCAB-1916-49A6-82D5-ADF73AAFB833}" type="presParOf" srcId="{EC606D58-D7DE-4B04-9366-BD1F7995D3F4}" destId="{CFC22410-DAE8-4192-B271-6971B6DEF6F5}" srcOrd="0" destOrd="0" presId="urn:microsoft.com/office/officeart/2005/8/layout/hierarchy2"/>
    <dgm:cxn modelId="{5045C85B-EA11-4B5F-AEBB-8748DCED032F}" type="presParOf" srcId="{EC606D58-D7DE-4B04-9366-BD1F7995D3F4}" destId="{6D309EA3-577B-44D5-9408-44EE5DE05965}" srcOrd="1" destOrd="0" presId="urn:microsoft.com/office/officeart/2005/8/layout/hierarchy2"/>
    <dgm:cxn modelId="{AAD2AD88-68FD-4E7B-9BC2-FA73D749B87F}" type="presParOf" srcId="{6D309EA3-577B-44D5-9408-44EE5DE05965}" destId="{090DA268-5E02-4278-AC6D-CE8440B87EF1}" srcOrd="0" destOrd="0" presId="urn:microsoft.com/office/officeart/2005/8/layout/hierarchy2"/>
    <dgm:cxn modelId="{050753BE-A6E0-4B0F-BD3A-09F45DCD4E1D}" type="presParOf" srcId="{090DA268-5E02-4278-AC6D-CE8440B87EF1}" destId="{7710E5B5-EE75-42F5-9C2A-C033041C46B6}" srcOrd="0" destOrd="0" presId="urn:microsoft.com/office/officeart/2005/8/layout/hierarchy2"/>
    <dgm:cxn modelId="{7DE38F70-EA36-4739-8E85-12D4FF5F0F84}" type="presParOf" srcId="{6D309EA3-577B-44D5-9408-44EE5DE05965}" destId="{CB362435-5FDA-4F16-87CD-3573DFB39CE1}" srcOrd="1" destOrd="0" presId="urn:microsoft.com/office/officeart/2005/8/layout/hierarchy2"/>
    <dgm:cxn modelId="{02F5AA5F-53E9-4F38-9214-29E66548EA45}" type="presParOf" srcId="{CB362435-5FDA-4F16-87CD-3573DFB39CE1}" destId="{C757D30D-E0C4-4BDA-8118-DDF238262DEC}" srcOrd="0" destOrd="0" presId="urn:microsoft.com/office/officeart/2005/8/layout/hierarchy2"/>
    <dgm:cxn modelId="{732BD982-1790-4F13-88C4-01821203A5BA}" type="presParOf" srcId="{CB362435-5FDA-4F16-87CD-3573DFB39CE1}" destId="{B343B44B-D67E-4AC9-9C9A-AD4EA9258C4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59162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921BA1C-88AD-44F6-9A20-3F314F26D897}" type="presOf" srcId="{66487DD0-4D79-4180-AB81-B361B4FACE09}" destId="{B9ED2192-F917-4BE7-A6BE-813D7F382554}" srcOrd="0" destOrd="0" presId="urn:microsoft.com/office/officeart/2005/8/layout/vList2"/>
    <dgm:cxn modelId="{E7D44397-AF8B-42F5-96B5-DED50F25F196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6FE66DF-67F0-4010-B032-CEE150101467}" type="presOf" srcId="{0BD08EE0-BF9E-4795-9B77-0FBE4D9C3FAA}" destId="{E5C0A0C3-950D-4232-9872-9174C1E989AA}" srcOrd="0" destOrd="0" presId="urn:microsoft.com/office/officeart/2005/8/layout/vList2"/>
    <dgm:cxn modelId="{067CF8AA-FAD7-44A8-B3E3-47D7E729DE8C}" type="presParOf" srcId="{B9ED2192-F917-4BE7-A6BE-813D7F382554}" destId="{1C2747ED-0D77-4E6D-821C-76CAEE910644}" srcOrd="0" destOrd="0" presId="urn:microsoft.com/office/officeart/2005/8/layout/vList2"/>
    <dgm:cxn modelId="{C753D3B0-69E6-42C8-BA29-4F84CB632BE0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4508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4E454CC-73C7-4718-8628-EAC0288BA4C0}" type="presOf" srcId="{528F3EA0-FF05-41BA-8D3E-F7B5C76FE089}" destId="{1C2747ED-0D77-4E6D-821C-76CAEE910644}" srcOrd="0" destOrd="0" presId="urn:microsoft.com/office/officeart/2005/8/layout/vList2"/>
    <dgm:cxn modelId="{FAB8A18E-806B-46C6-BA45-BA5CDE9DBDF3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C886090D-C8C5-408E-844B-8356ACD673A8}" type="presOf" srcId="{0BD08EE0-BF9E-4795-9B77-0FBE4D9C3FAA}" destId="{E5C0A0C3-950D-4232-9872-9174C1E989AA}" srcOrd="0" destOrd="0" presId="urn:microsoft.com/office/officeart/2005/8/layout/vList2"/>
    <dgm:cxn modelId="{56CA4F68-8C59-4F1D-8143-B985DAE86AB6}" type="presParOf" srcId="{B9ED2192-F917-4BE7-A6BE-813D7F382554}" destId="{1C2747ED-0D77-4E6D-821C-76CAEE910644}" srcOrd="0" destOrd="0" presId="urn:microsoft.com/office/officeart/2005/8/layout/vList2"/>
    <dgm:cxn modelId="{FC7A972E-6B7E-4D7D-B4D3-461391099659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Y="178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X="-100000" custLinFactNeighborX="-176000" custLinFactNeighborY="3211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BFFB1EA-A886-4825-98FE-12466751A5A9}" type="presOf" srcId="{0BD08EE0-BF9E-4795-9B77-0FBE4D9C3FAA}" destId="{E5C0A0C3-950D-4232-9872-9174C1E989AA}" srcOrd="0" destOrd="0" presId="urn:microsoft.com/office/officeart/2005/8/layout/vList2"/>
    <dgm:cxn modelId="{DA4F85B4-7F20-49BA-B970-EE9567A126A0}" type="presOf" srcId="{528F3EA0-FF05-41BA-8D3E-F7B5C76FE089}" destId="{1C2747ED-0D77-4E6D-821C-76CAEE910644}" srcOrd="0" destOrd="0" presId="urn:microsoft.com/office/officeart/2005/8/layout/vList2"/>
    <dgm:cxn modelId="{162EE93F-516A-4371-B7A3-F6BC853FF4A9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A38FF0-2A73-4B5C-9A33-5C7FA05AE3F2}" type="presParOf" srcId="{B9ED2192-F917-4BE7-A6BE-813D7F382554}" destId="{1C2747ED-0D77-4E6D-821C-76CAEE910644}" srcOrd="0" destOrd="0" presId="urn:microsoft.com/office/officeart/2005/8/layout/vList2"/>
    <dgm:cxn modelId="{1AA255C0-D2F8-4170-9032-1A390444BAA9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C96073C-4771-409B-8340-CCE6BD44682A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52B0AF-3D2A-43F4-884E-701670E155FE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C24F1A67-583C-4DE7-9479-33AA13908660}" type="parTrans" cxnId="{E65190D7-5457-4727-80F7-22034A2263C4}">
      <dgm:prSet/>
      <dgm:spPr/>
      <dgm:t>
        <a:bodyPr/>
        <a:lstStyle/>
        <a:p>
          <a:endParaRPr lang="en-US"/>
        </a:p>
      </dgm:t>
    </dgm:pt>
    <dgm:pt modelId="{BE9F93BD-1795-4A6B-9300-E9757C720154}" type="sibTrans" cxnId="{E65190D7-5457-4727-80F7-22034A2263C4}">
      <dgm:prSet/>
      <dgm:spPr/>
      <dgm:t>
        <a:bodyPr/>
        <a:lstStyle/>
        <a:p>
          <a:endParaRPr lang="en-US"/>
        </a:p>
      </dgm:t>
    </dgm:pt>
    <dgm:pt modelId="{2F52A6E2-3EC7-41C6-899C-A9321BDC39F3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2124030A-C83E-4E2F-B321-F6352D9F9720}" type="parTrans" cxnId="{40D1003E-496C-42D4-A1FF-88F2CA7F6CE7}">
      <dgm:prSet/>
      <dgm:spPr/>
      <dgm:t>
        <a:bodyPr/>
        <a:lstStyle/>
        <a:p>
          <a:endParaRPr lang="en-US"/>
        </a:p>
      </dgm:t>
    </dgm:pt>
    <dgm:pt modelId="{81B627BF-2DB3-4BD6-A026-F0DFF329634B}" type="sibTrans" cxnId="{40D1003E-496C-42D4-A1FF-88F2CA7F6CE7}">
      <dgm:prSet/>
      <dgm:spPr/>
      <dgm:t>
        <a:bodyPr/>
        <a:lstStyle/>
        <a:p>
          <a:endParaRPr lang="en-US"/>
        </a:p>
      </dgm:t>
    </dgm:pt>
    <dgm:pt modelId="{EB9C0BEB-A914-4D37-9680-FF17BE80A7BC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dirty="0" smtClean="0">
              <a:latin typeface="Candara" pitchFamily="34" charset="0"/>
            </a:rPr>
            <a:t> </a:t>
          </a:r>
          <a:r>
            <a:rPr lang="en-US" sz="2400" b="1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06B6BC33-9ABA-4177-986A-91845B42D3F9}" type="parTrans" cxnId="{99CDDE1E-D2C1-4779-813E-FBAD055F33A7}">
      <dgm:prSet/>
      <dgm:spPr/>
      <dgm:t>
        <a:bodyPr/>
        <a:lstStyle/>
        <a:p>
          <a:endParaRPr lang="en-US"/>
        </a:p>
      </dgm:t>
    </dgm:pt>
    <dgm:pt modelId="{DCD20800-E5DA-461D-8756-BD40F856D7BF}" type="sibTrans" cxnId="{99CDDE1E-D2C1-4779-813E-FBAD055F33A7}">
      <dgm:prSet/>
      <dgm:spPr/>
      <dgm:t>
        <a:bodyPr/>
        <a:lstStyle/>
        <a:p>
          <a:endParaRPr lang="en-US"/>
        </a:p>
      </dgm:t>
    </dgm:pt>
    <dgm:pt modelId="{379FC270-4749-4E66-B9FA-D43C0C114303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b="1" dirty="0">
            <a:latin typeface="Candara" pitchFamily="34" charset="0"/>
            <a:cs typeface="Aharoni" pitchFamily="2" charset="-79"/>
          </a:endParaRPr>
        </a:p>
      </dgm:t>
    </dgm:pt>
    <dgm:pt modelId="{CEF8D93B-F18D-49AF-A6A9-24987154E6E7}" type="parTrans" cxnId="{122ECD01-88DB-46C7-8AD7-AFC8313B7D9E}">
      <dgm:prSet/>
      <dgm:spPr/>
      <dgm:t>
        <a:bodyPr/>
        <a:lstStyle/>
        <a:p>
          <a:endParaRPr lang="en-US"/>
        </a:p>
      </dgm:t>
    </dgm:pt>
    <dgm:pt modelId="{5B35CF93-D800-4126-ADC5-671139302670}" type="sibTrans" cxnId="{122ECD01-88DB-46C7-8AD7-AFC8313B7D9E}">
      <dgm:prSet/>
      <dgm:spPr/>
      <dgm:t>
        <a:bodyPr/>
        <a:lstStyle/>
        <a:p>
          <a:endParaRPr lang="en-US"/>
        </a:p>
      </dgm:t>
    </dgm:pt>
    <dgm:pt modelId="{D188C809-721D-467B-9F00-99FD90FAD66B}" type="pres">
      <dgm:prSet presAssocID="{8C96073C-4771-409B-8340-CCE6BD4468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013F4B0-CAA5-4978-84FC-6CE9618F6802}" type="pres">
      <dgm:prSet presAssocID="{379FC270-4749-4E66-B9FA-D43C0C114303}" presName="boxAndChildren" presStyleCnt="0"/>
      <dgm:spPr/>
    </dgm:pt>
    <dgm:pt modelId="{98CC0ACD-2046-4931-B75C-A6BAEB8B91E9}" type="pres">
      <dgm:prSet presAssocID="{379FC270-4749-4E66-B9FA-D43C0C114303}" presName="parentTextBox" presStyleLbl="node1" presStyleIdx="0" presStyleCnt="4" custScaleX="94981" custScaleY="15350" custLinFactNeighborX="-359" custLinFactNeighborY="-7188"/>
      <dgm:spPr/>
      <dgm:t>
        <a:bodyPr/>
        <a:lstStyle/>
        <a:p>
          <a:endParaRPr lang="en-US"/>
        </a:p>
      </dgm:t>
    </dgm:pt>
    <dgm:pt modelId="{6C1D04E7-E512-465C-A023-611EE25EE161}" type="pres">
      <dgm:prSet presAssocID="{DCD20800-E5DA-461D-8756-BD40F856D7BF}" presName="sp" presStyleCnt="0"/>
      <dgm:spPr/>
    </dgm:pt>
    <dgm:pt modelId="{46DD580C-89ED-4D55-BBFA-1FE3F6E68AD7}" type="pres">
      <dgm:prSet presAssocID="{EB9C0BEB-A914-4D37-9680-FF17BE80A7BC}" presName="arrowAndChildren" presStyleCnt="0"/>
      <dgm:spPr/>
    </dgm:pt>
    <dgm:pt modelId="{81B3D6AD-2D1D-474B-A4D5-3972420D28F3}" type="pres">
      <dgm:prSet presAssocID="{EB9C0BEB-A914-4D37-9680-FF17BE80A7BC}" presName="parentTextArrow" presStyleLbl="node1" presStyleIdx="1" presStyleCnt="4" custScaleX="94472" custScaleY="15858" custLinFactNeighborX="-463" custLinFactNeighborY="-4239"/>
      <dgm:spPr/>
      <dgm:t>
        <a:bodyPr/>
        <a:lstStyle/>
        <a:p>
          <a:endParaRPr lang="en-US"/>
        </a:p>
      </dgm:t>
    </dgm:pt>
    <dgm:pt modelId="{56E016A7-4D4D-4A29-BEF0-C876E2309190}" type="pres">
      <dgm:prSet presAssocID="{81B627BF-2DB3-4BD6-A026-F0DFF329634B}" presName="sp" presStyleCnt="0"/>
      <dgm:spPr/>
    </dgm:pt>
    <dgm:pt modelId="{054BE8FB-B42A-4961-97A8-4F2F2E598EAB}" type="pres">
      <dgm:prSet presAssocID="{2F52A6E2-3EC7-41C6-899C-A9321BDC39F3}" presName="arrowAndChildren" presStyleCnt="0"/>
      <dgm:spPr/>
    </dgm:pt>
    <dgm:pt modelId="{E3939F56-722C-42DF-A72E-296AD4711193}" type="pres">
      <dgm:prSet presAssocID="{2F52A6E2-3EC7-41C6-899C-A9321BDC39F3}" presName="parentTextArrow" presStyleLbl="node1" presStyleIdx="2" presStyleCnt="4" custScaleX="94621" custScaleY="17753" custLinFactNeighborX="-359" custLinFactNeighborY="-4211"/>
      <dgm:spPr/>
      <dgm:t>
        <a:bodyPr/>
        <a:lstStyle/>
        <a:p>
          <a:endParaRPr lang="en-US"/>
        </a:p>
      </dgm:t>
    </dgm:pt>
    <dgm:pt modelId="{86BB0CEF-AC5E-4F9F-855D-9DC279714D6A}" type="pres">
      <dgm:prSet presAssocID="{BE9F93BD-1795-4A6B-9300-E9757C720154}" presName="sp" presStyleCnt="0"/>
      <dgm:spPr/>
    </dgm:pt>
    <dgm:pt modelId="{9DC1663B-56A5-442F-BD17-9AE3C0758CD0}" type="pres">
      <dgm:prSet presAssocID="{C152B0AF-3D2A-43F4-884E-701670E155FE}" presName="arrowAndChildren" presStyleCnt="0"/>
      <dgm:spPr/>
    </dgm:pt>
    <dgm:pt modelId="{0652BC7E-7AFC-4631-9324-26B650C32B4C}" type="pres">
      <dgm:prSet presAssocID="{C152B0AF-3D2A-43F4-884E-701670E155FE}" presName="parentTextArrow" presStyleLbl="node1" presStyleIdx="3" presStyleCnt="4" custScaleX="94295" custScaleY="17174" custLinFactNeighborX="-343" custLinFactNeighborY="-7624"/>
      <dgm:spPr/>
      <dgm:t>
        <a:bodyPr/>
        <a:lstStyle/>
        <a:p>
          <a:endParaRPr lang="en-US"/>
        </a:p>
      </dgm:t>
    </dgm:pt>
  </dgm:ptLst>
  <dgm:cxnLst>
    <dgm:cxn modelId="{99CDDE1E-D2C1-4779-813E-FBAD055F33A7}" srcId="{8C96073C-4771-409B-8340-CCE6BD44682A}" destId="{EB9C0BEB-A914-4D37-9680-FF17BE80A7BC}" srcOrd="2" destOrd="0" parTransId="{06B6BC33-9ABA-4177-986A-91845B42D3F9}" sibTransId="{DCD20800-E5DA-461D-8756-BD40F856D7BF}"/>
    <dgm:cxn modelId="{E65190D7-5457-4727-80F7-22034A2263C4}" srcId="{8C96073C-4771-409B-8340-CCE6BD44682A}" destId="{C152B0AF-3D2A-43F4-884E-701670E155FE}" srcOrd="0" destOrd="0" parTransId="{C24F1A67-583C-4DE7-9479-33AA13908660}" sibTransId="{BE9F93BD-1795-4A6B-9300-E9757C720154}"/>
    <dgm:cxn modelId="{C9EDA5A4-3C77-41D7-8D22-BE4D9C659A4E}" type="presOf" srcId="{2F52A6E2-3EC7-41C6-899C-A9321BDC39F3}" destId="{E3939F56-722C-42DF-A72E-296AD4711193}" srcOrd="0" destOrd="0" presId="urn:microsoft.com/office/officeart/2005/8/layout/process4"/>
    <dgm:cxn modelId="{03FEED01-4BB3-4ADD-A6A0-CBB827E36384}" type="presOf" srcId="{EB9C0BEB-A914-4D37-9680-FF17BE80A7BC}" destId="{81B3D6AD-2D1D-474B-A4D5-3972420D28F3}" srcOrd="0" destOrd="0" presId="urn:microsoft.com/office/officeart/2005/8/layout/process4"/>
    <dgm:cxn modelId="{40D1003E-496C-42D4-A1FF-88F2CA7F6CE7}" srcId="{8C96073C-4771-409B-8340-CCE6BD44682A}" destId="{2F52A6E2-3EC7-41C6-899C-A9321BDC39F3}" srcOrd="1" destOrd="0" parTransId="{2124030A-C83E-4E2F-B321-F6352D9F9720}" sibTransId="{81B627BF-2DB3-4BD6-A026-F0DFF329634B}"/>
    <dgm:cxn modelId="{5C719B0C-FC05-4A58-9882-0B6B309920E7}" type="presOf" srcId="{C152B0AF-3D2A-43F4-884E-701670E155FE}" destId="{0652BC7E-7AFC-4631-9324-26B650C32B4C}" srcOrd="0" destOrd="0" presId="urn:microsoft.com/office/officeart/2005/8/layout/process4"/>
    <dgm:cxn modelId="{1E70B360-7900-484E-AADD-92B0BD91EF41}" type="presOf" srcId="{379FC270-4749-4E66-B9FA-D43C0C114303}" destId="{98CC0ACD-2046-4931-B75C-A6BAEB8B91E9}" srcOrd="0" destOrd="0" presId="urn:microsoft.com/office/officeart/2005/8/layout/process4"/>
    <dgm:cxn modelId="{BABDAAC5-420F-449D-9F1C-1F269667DF25}" type="presOf" srcId="{8C96073C-4771-409B-8340-CCE6BD44682A}" destId="{D188C809-721D-467B-9F00-99FD90FAD66B}" srcOrd="0" destOrd="0" presId="urn:microsoft.com/office/officeart/2005/8/layout/process4"/>
    <dgm:cxn modelId="{122ECD01-88DB-46C7-8AD7-AFC8313B7D9E}" srcId="{8C96073C-4771-409B-8340-CCE6BD44682A}" destId="{379FC270-4749-4E66-B9FA-D43C0C114303}" srcOrd="3" destOrd="0" parTransId="{CEF8D93B-F18D-49AF-A6A9-24987154E6E7}" sibTransId="{5B35CF93-D800-4126-ADC5-671139302670}"/>
    <dgm:cxn modelId="{EDDAAB9A-D8FC-448E-B71A-75D3B9426FD7}" type="presParOf" srcId="{D188C809-721D-467B-9F00-99FD90FAD66B}" destId="{D013F4B0-CAA5-4978-84FC-6CE9618F6802}" srcOrd="0" destOrd="0" presId="urn:microsoft.com/office/officeart/2005/8/layout/process4"/>
    <dgm:cxn modelId="{F51D0A54-C250-4252-ADC7-CD19C71FDCA2}" type="presParOf" srcId="{D013F4B0-CAA5-4978-84FC-6CE9618F6802}" destId="{98CC0ACD-2046-4931-B75C-A6BAEB8B91E9}" srcOrd="0" destOrd="0" presId="urn:microsoft.com/office/officeart/2005/8/layout/process4"/>
    <dgm:cxn modelId="{8C4D93F1-474F-47D6-893D-B4EBF922C8F2}" type="presParOf" srcId="{D188C809-721D-467B-9F00-99FD90FAD66B}" destId="{6C1D04E7-E512-465C-A023-611EE25EE161}" srcOrd="1" destOrd="0" presId="urn:microsoft.com/office/officeart/2005/8/layout/process4"/>
    <dgm:cxn modelId="{3AA19061-F528-4630-B6C6-F5082028D5A9}" type="presParOf" srcId="{D188C809-721D-467B-9F00-99FD90FAD66B}" destId="{46DD580C-89ED-4D55-BBFA-1FE3F6E68AD7}" srcOrd="2" destOrd="0" presId="urn:microsoft.com/office/officeart/2005/8/layout/process4"/>
    <dgm:cxn modelId="{283BD97B-8052-408B-9984-69442E5466DB}" type="presParOf" srcId="{46DD580C-89ED-4D55-BBFA-1FE3F6E68AD7}" destId="{81B3D6AD-2D1D-474B-A4D5-3972420D28F3}" srcOrd="0" destOrd="0" presId="urn:microsoft.com/office/officeart/2005/8/layout/process4"/>
    <dgm:cxn modelId="{9A54D971-779F-4BFF-8D7A-319D368C434D}" type="presParOf" srcId="{D188C809-721D-467B-9F00-99FD90FAD66B}" destId="{56E016A7-4D4D-4A29-BEF0-C876E2309190}" srcOrd="3" destOrd="0" presId="urn:microsoft.com/office/officeart/2005/8/layout/process4"/>
    <dgm:cxn modelId="{39EE14E4-3951-4100-B0A4-43B37D4FAAB9}" type="presParOf" srcId="{D188C809-721D-467B-9F00-99FD90FAD66B}" destId="{054BE8FB-B42A-4961-97A8-4F2F2E598EAB}" srcOrd="4" destOrd="0" presId="urn:microsoft.com/office/officeart/2005/8/layout/process4"/>
    <dgm:cxn modelId="{35CFD66C-4EA2-4A7F-B6EF-E278DC90FB80}" type="presParOf" srcId="{054BE8FB-B42A-4961-97A8-4F2F2E598EAB}" destId="{E3939F56-722C-42DF-A72E-296AD4711193}" srcOrd="0" destOrd="0" presId="urn:microsoft.com/office/officeart/2005/8/layout/process4"/>
    <dgm:cxn modelId="{31A12AE8-4B89-441B-84DA-956D84D92705}" type="presParOf" srcId="{D188C809-721D-467B-9F00-99FD90FAD66B}" destId="{86BB0CEF-AC5E-4F9F-855D-9DC279714D6A}" srcOrd="5" destOrd="0" presId="urn:microsoft.com/office/officeart/2005/8/layout/process4"/>
    <dgm:cxn modelId="{4D5A9481-9E53-4853-9FA1-A89589B46C98}" type="presParOf" srcId="{D188C809-721D-467B-9F00-99FD90FAD66B}" destId="{9DC1663B-56A5-442F-BD17-9AE3C0758CD0}" srcOrd="6" destOrd="0" presId="urn:microsoft.com/office/officeart/2005/8/layout/process4"/>
    <dgm:cxn modelId="{07EB2614-E263-4A96-9E15-808051FA010E}" type="presParOf" srcId="{9DC1663B-56A5-442F-BD17-9AE3C0758CD0}" destId="{0652BC7E-7AFC-4631-9324-26B650C32B4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C96073C-4771-409B-8340-CCE6BD44682A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52B0AF-3D2A-43F4-884E-701670E155FE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C24F1A67-583C-4DE7-9479-33AA13908660}" type="parTrans" cxnId="{E65190D7-5457-4727-80F7-22034A2263C4}">
      <dgm:prSet/>
      <dgm:spPr/>
      <dgm:t>
        <a:bodyPr/>
        <a:lstStyle/>
        <a:p>
          <a:endParaRPr lang="en-US"/>
        </a:p>
      </dgm:t>
    </dgm:pt>
    <dgm:pt modelId="{BE9F93BD-1795-4A6B-9300-E9757C720154}" type="sibTrans" cxnId="{E65190D7-5457-4727-80F7-22034A2263C4}">
      <dgm:prSet/>
      <dgm:spPr/>
      <dgm:t>
        <a:bodyPr/>
        <a:lstStyle/>
        <a:p>
          <a:endParaRPr lang="en-US"/>
        </a:p>
      </dgm:t>
    </dgm:pt>
    <dgm:pt modelId="{2F52A6E2-3EC7-41C6-899C-A9321BDC39F3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2124030A-C83E-4E2F-B321-F6352D9F9720}" type="parTrans" cxnId="{40D1003E-496C-42D4-A1FF-88F2CA7F6CE7}">
      <dgm:prSet/>
      <dgm:spPr/>
      <dgm:t>
        <a:bodyPr/>
        <a:lstStyle/>
        <a:p>
          <a:endParaRPr lang="en-US"/>
        </a:p>
      </dgm:t>
    </dgm:pt>
    <dgm:pt modelId="{81B627BF-2DB3-4BD6-A026-F0DFF329634B}" type="sibTrans" cxnId="{40D1003E-496C-42D4-A1FF-88F2CA7F6CE7}">
      <dgm:prSet/>
      <dgm:spPr/>
      <dgm:t>
        <a:bodyPr/>
        <a:lstStyle/>
        <a:p>
          <a:endParaRPr lang="en-US"/>
        </a:p>
      </dgm:t>
    </dgm:pt>
    <dgm:pt modelId="{EB9C0BEB-A914-4D37-9680-FF17BE80A7BC}">
      <dgm:prSet phldrT="[Text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400" b="1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dirty="0" smtClean="0">
              <a:latin typeface="Candara" pitchFamily="34" charset="0"/>
            </a:rPr>
            <a:t> </a:t>
          </a:r>
          <a:r>
            <a:rPr lang="en-US" sz="2400" b="1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dirty="0">
            <a:latin typeface="Candara" pitchFamily="34" charset="0"/>
            <a:cs typeface="Aharoni" pitchFamily="2" charset="-79"/>
          </a:endParaRPr>
        </a:p>
      </dgm:t>
    </dgm:pt>
    <dgm:pt modelId="{06B6BC33-9ABA-4177-986A-91845B42D3F9}" type="parTrans" cxnId="{99CDDE1E-D2C1-4779-813E-FBAD055F33A7}">
      <dgm:prSet/>
      <dgm:spPr/>
      <dgm:t>
        <a:bodyPr/>
        <a:lstStyle/>
        <a:p>
          <a:endParaRPr lang="en-US"/>
        </a:p>
      </dgm:t>
    </dgm:pt>
    <dgm:pt modelId="{DCD20800-E5DA-461D-8756-BD40F856D7BF}" type="sibTrans" cxnId="{99CDDE1E-D2C1-4779-813E-FBAD055F33A7}">
      <dgm:prSet/>
      <dgm:spPr/>
      <dgm:t>
        <a:bodyPr/>
        <a:lstStyle/>
        <a:p>
          <a:endParaRPr lang="en-US"/>
        </a:p>
      </dgm:t>
    </dgm:pt>
    <dgm:pt modelId="{379FC270-4749-4E66-B9FA-D43C0C114303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b="1" dirty="0">
            <a:latin typeface="Candara" pitchFamily="34" charset="0"/>
            <a:cs typeface="Aharoni" pitchFamily="2" charset="-79"/>
          </a:endParaRPr>
        </a:p>
      </dgm:t>
    </dgm:pt>
    <dgm:pt modelId="{CEF8D93B-F18D-49AF-A6A9-24987154E6E7}" type="parTrans" cxnId="{122ECD01-88DB-46C7-8AD7-AFC8313B7D9E}">
      <dgm:prSet/>
      <dgm:spPr/>
      <dgm:t>
        <a:bodyPr/>
        <a:lstStyle/>
        <a:p>
          <a:endParaRPr lang="en-US"/>
        </a:p>
      </dgm:t>
    </dgm:pt>
    <dgm:pt modelId="{5B35CF93-D800-4126-ADC5-671139302670}" type="sibTrans" cxnId="{122ECD01-88DB-46C7-8AD7-AFC8313B7D9E}">
      <dgm:prSet/>
      <dgm:spPr/>
      <dgm:t>
        <a:bodyPr/>
        <a:lstStyle/>
        <a:p>
          <a:endParaRPr lang="en-US"/>
        </a:p>
      </dgm:t>
    </dgm:pt>
    <dgm:pt modelId="{D188C809-721D-467B-9F00-99FD90FAD66B}" type="pres">
      <dgm:prSet presAssocID="{8C96073C-4771-409B-8340-CCE6BD4468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013F4B0-CAA5-4978-84FC-6CE9618F6802}" type="pres">
      <dgm:prSet presAssocID="{379FC270-4749-4E66-B9FA-D43C0C114303}" presName="boxAndChildren" presStyleCnt="0"/>
      <dgm:spPr/>
    </dgm:pt>
    <dgm:pt modelId="{98CC0ACD-2046-4931-B75C-A6BAEB8B91E9}" type="pres">
      <dgm:prSet presAssocID="{379FC270-4749-4E66-B9FA-D43C0C114303}" presName="parentTextBox" presStyleLbl="node1" presStyleIdx="0" presStyleCnt="4" custScaleX="94981" custScaleY="15350" custLinFactNeighborX="-359" custLinFactNeighborY="-7188"/>
      <dgm:spPr/>
      <dgm:t>
        <a:bodyPr/>
        <a:lstStyle/>
        <a:p>
          <a:endParaRPr lang="en-US"/>
        </a:p>
      </dgm:t>
    </dgm:pt>
    <dgm:pt modelId="{6C1D04E7-E512-465C-A023-611EE25EE161}" type="pres">
      <dgm:prSet presAssocID="{DCD20800-E5DA-461D-8756-BD40F856D7BF}" presName="sp" presStyleCnt="0"/>
      <dgm:spPr/>
    </dgm:pt>
    <dgm:pt modelId="{46DD580C-89ED-4D55-BBFA-1FE3F6E68AD7}" type="pres">
      <dgm:prSet presAssocID="{EB9C0BEB-A914-4D37-9680-FF17BE80A7BC}" presName="arrowAndChildren" presStyleCnt="0"/>
      <dgm:spPr/>
    </dgm:pt>
    <dgm:pt modelId="{81B3D6AD-2D1D-474B-A4D5-3972420D28F3}" type="pres">
      <dgm:prSet presAssocID="{EB9C0BEB-A914-4D37-9680-FF17BE80A7BC}" presName="parentTextArrow" presStyleLbl="node1" presStyleIdx="1" presStyleCnt="4" custScaleX="94472" custScaleY="15858" custLinFactNeighborX="-463" custLinFactNeighborY="-4239"/>
      <dgm:spPr/>
      <dgm:t>
        <a:bodyPr/>
        <a:lstStyle/>
        <a:p>
          <a:endParaRPr lang="en-US"/>
        </a:p>
      </dgm:t>
    </dgm:pt>
    <dgm:pt modelId="{56E016A7-4D4D-4A29-BEF0-C876E2309190}" type="pres">
      <dgm:prSet presAssocID="{81B627BF-2DB3-4BD6-A026-F0DFF329634B}" presName="sp" presStyleCnt="0"/>
      <dgm:spPr/>
    </dgm:pt>
    <dgm:pt modelId="{054BE8FB-B42A-4961-97A8-4F2F2E598EAB}" type="pres">
      <dgm:prSet presAssocID="{2F52A6E2-3EC7-41C6-899C-A9321BDC39F3}" presName="arrowAndChildren" presStyleCnt="0"/>
      <dgm:spPr/>
    </dgm:pt>
    <dgm:pt modelId="{E3939F56-722C-42DF-A72E-296AD4711193}" type="pres">
      <dgm:prSet presAssocID="{2F52A6E2-3EC7-41C6-899C-A9321BDC39F3}" presName="parentTextArrow" presStyleLbl="node1" presStyleIdx="2" presStyleCnt="4" custScaleX="94621" custScaleY="17753" custLinFactNeighborX="-359" custLinFactNeighborY="-4211"/>
      <dgm:spPr/>
      <dgm:t>
        <a:bodyPr/>
        <a:lstStyle/>
        <a:p>
          <a:endParaRPr lang="en-US"/>
        </a:p>
      </dgm:t>
    </dgm:pt>
    <dgm:pt modelId="{86BB0CEF-AC5E-4F9F-855D-9DC279714D6A}" type="pres">
      <dgm:prSet presAssocID="{BE9F93BD-1795-4A6B-9300-E9757C720154}" presName="sp" presStyleCnt="0"/>
      <dgm:spPr/>
    </dgm:pt>
    <dgm:pt modelId="{9DC1663B-56A5-442F-BD17-9AE3C0758CD0}" type="pres">
      <dgm:prSet presAssocID="{C152B0AF-3D2A-43F4-884E-701670E155FE}" presName="arrowAndChildren" presStyleCnt="0"/>
      <dgm:spPr/>
    </dgm:pt>
    <dgm:pt modelId="{0652BC7E-7AFC-4631-9324-26B650C32B4C}" type="pres">
      <dgm:prSet presAssocID="{C152B0AF-3D2A-43F4-884E-701670E155FE}" presName="parentTextArrow" presStyleLbl="node1" presStyleIdx="3" presStyleCnt="4" custScaleX="94295" custScaleY="17174" custLinFactNeighborX="-343" custLinFactNeighborY="-7624"/>
      <dgm:spPr/>
      <dgm:t>
        <a:bodyPr/>
        <a:lstStyle/>
        <a:p>
          <a:endParaRPr lang="en-US"/>
        </a:p>
      </dgm:t>
    </dgm:pt>
  </dgm:ptLst>
  <dgm:cxnLst>
    <dgm:cxn modelId="{E65190D7-5457-4727-80F7-22034A2263C4}" srcId="{8C96073C-4771-409B-8340-CCE6BD44682A}" destId="{C152B0AF-3D2A-43F4-884E-701670E155FE}" srcOrd="0" destOrd="0" parTransId="{C24F1A67-583C-4DE7-9479-33AA13908660}" sibTransId="{BE9F93BD-1795-4A6B-9300-E9757C720154}"/>
    <dgm:cxn modelId="{0BA5DF07-6673-4882-A50B-4E594CE71C22}" type="presOf" srcId="{2F52A6E2-3EC7-41C6-899C-A9321BDC39F3}" destId="{E3939F56-722C-42DF-A72E-296AD4711193}" srcOrd="0" destOrd="0" presId="urn:microsoft.com/office/officeart/2005/8/layout/process4"/>
    <dgm:cxn modelId="{E45BF8CF-D94B-4886-B8C3-448E78F0CA38}" type="presOf" srcId="{8C96073C-4771-409B-8340-CCE6BD44682A}" destId="{D188C809-721D-467B-9F00-99FD90FAD66B}" srcOrd="0" destOrd="0" presId="urn:microsoft.com/office/officeart/2005/8/layout/process4"/>
    <dgm:cxn modelId="{545BE78E-F0FE-4313-B216-1585EF394713}" type="presOf" srcId="{C152B0AF-3D2A-43F4-884E-701670E155FE}" destId="{0652BC7E-7AFC-4631-9324-26B650C32B4C}" srcOrd="0" destOrd="0" presId="urn:microsoft.com/office/officeart/2005/8/layout/process4"/>
    <dgm:cxn modelId="{122ECD01-88DB-46C7-8AD7-AFC8313B7D9E}" srcId="{8C96073C-4771-409B-8340-CCE6BD44682A}" destId="{379FC270-4749-4E66-B9FA-D43C0C114303}" srcOrd="3" destOrd="0" parTransId="{CEF8D93B-F18D-49AF-A6A9-24987154E6E7}" sibTransId="{5B35CF93-D800-4126-ADC5-671139302670}"/>
    <dgm:cxn modelId="{3AF87DDB-A1E3-4B5C-A043-A8F375099A5C}" type="presOf" srcId="{EB9C0BEB-A914-4D37-9680-FF17BE80A7BC}" destId="{81B3D6AD-2D1D-474B-A4D5-3972420D28F3}" srcOrd="0" destOrd="0" presId="urn:microsoft.com/office/officeart/2005/8/layout/process4"/>
    <dgm:cxn modelId="{99CDDE1E-D2C1-4779-813E-FBAD055F33A7}" srcId="{8C96073C-4771-409B-8340-CCE6BD44682A}" destId="{EB9C0BEB-A914-4D37-9680-FF17BE80A7BC}" srcOrd="2" destOrd="0" parTransId="{06B6BC33-9ABA-4177-986A-91845B42D3F9}" sibTransId="{DCD20800-E5DA-461D-8756-BD40F856D7BF}"/>
    <dgm:cxn modelId="{D7CB0564-82EF-40DE-AD87-6350FBB12B21}" type="presOf" srcId="{379FC270-4749-4E66-B9FA-D43C0C114303}" destId="{98CC0ACD-2046-4931-B75C-A6BAEB8B91E9}" srcOrd="0" destOrd="0" presId="urn:microsoft.com/office/officeart/2005/8/layout/process4"/>
    <dgm:cxn modelId="{40D1003E-496C-42D4-A1FF-88F2CA7F6CE7}" srcId="{8C96073C-4771-409B-8340-CCE6BD44682A}" destId="{2F52A6E2-3EC7-41C6-899C-A9321BDC39F3}" srcOrd="1" destOrd="0" parTransId="{2124030A-C83E-4E2F-B321-F6352D9F9720}" sibTransId="{81B627BF-2DB3-4BD6-A026-F0DFF329634B}"/>
    <dgm:cxn modelId="{D878698E-DCD8-465A-B7B6-E43D5B336F00}" type="presParOf" srcId="{D188C809-721D-467B-9F00-99FD90FAD66B}" destId="{D013F4B0-CAA5-4978-84FC-6CE9618F6802}" srcOrd="0" destOrd="0" presId="urn:microsoft.com/office/officeart/2005/8/layout/process4"/>
    <dgm:cxn modelId="{E8B09734-7986-440F-9EE8-3DBB30C1F75A}" type="presParOf" srcId="{D013F4B0-CAA5-4978-84FC-6CE9618F6802}" destId="{98CC0ACD-2046-4931-B75C-A6BAEB8B91E9}" srcOrd="0" destOrd="0" presId="urn:microsoft.com/office/officeart/2005/8/layout/process4"/>
    <dgm:cxn modelId="{8FEA921C-7EF0-4E2F-B1E8-0CB0DE80CF6F}" type="presParOf" srcId="{D188C809-721D-467B-9F00-99FD90FAD66B}" destId="{6C1D04E7-E512-465C-A023-611EE25EE161}" srcOrd="1" destOrd="0" presId="urn:microsoft.com/office/officeart/2005/8/layout/process4"/>
    <dgm:cxn modelId="{18488ADA-5925-423D-B62F-9F4C40337505}" type="presParOf" srcId="{D188C809-721D-467B-9F00-99FD90FAD66B}" destId="{46DD580C-89ED-4D55-BBFA-1FE3F6E68AD7}" srcOrd="2" destOrd="0" presId="urn:microsoft.com/office/officeart/2005/8/layout/process4"/>
    <dgm:cxn modelId="{7978FF1B-401D-45FE-BB78-144A14A005D1}" type="presParOf" srcId="{46DD580C-89ED-4D55-BBFA-1FE3F6E68AD7}" destId="{81B3D6AD-2D1D-474B-A4D5-3972420D28F3}" srcOrd="0" destOrd="0" presId="urn:microsoft.com/office/officeart/2005/8/layout/process4"/>
    <dgm:cxn modelId="{148D4B2C-2123-4C74-835B-4879DEDBEA74}" type="presParOf" srcId="{D188C809-721D-467B-9F00-99FD90FAD66B}" destId="{56E016A7-4D4D-4A29-BEF0-C876E2309190}" srcOrd="3" destOrd="0" presId="urn:microsoft.com/office/officeart/2005/8/layout/process4"/>
    <dgm:cxn modelId="{E3AB1000-8D49-4911-A1D8-8F7D6D3EBEDF}" type="presParOf" srcId="{D188C809-721D-467B-9F00-99FD90FAD66B}" destId="{054BE8FB-B42A-4961-97A8-4F2F2E598EAB}" srcOrd="4" destOrd="0" presId="urn:microsoft.com/office/officeart/2005/8/layout/process4"/>
    <dgm:cxn modelId="{E24275DC-B872-4758-A65E-D155F67EC377}" type="presParOf" srcId="{054BE8FB-B42A-4961-97A8-4F2F2E598EAB}" destId="{E3939F56-722C-42DF-A72E-296AD4711193}" srcOrd="0" destOrd="0" presId="urn:microsoft.com/office/officeart/2005/8/layout/process4"/>
    <dgm:cxn modelId="{4CE86005-8B9C-4A45-A465-958A6B3A8275}" type="presParOf" srcId="{D188C809-721D-467B-9F00-99FD90FAD66B}" destId="{86BB0CEF-AC5E-4F9F-855D-9DC279714D6A}" srcOrd="5" destOrd="0" presId="urn:microsoft.com/office/officeart/2005/8/layout/process4"/>
    <dgm:cxn modelId="{3A44F092-9F14-4694-97E0-D7704FEEC80D}" type="presParOf" srcId="{D188C809-721D-467B-9F00-99FD90FAD66B}" destId="{9DC1663B-56A5-442F-BD17-9AE3C0758CD0}" srcOrd="6" destOrd="0" presId="urn:microsoft.com/office/officeart/2005/8/layout/process4"/>
    <dgm:cxn modelId="{A23C550B-2353-41C2-8FA0-7BDA40061571}" type="presParOf" srcId="{9DC1663B-56A5-442F-BD17-9AE3C0758CD0}" destId="{0652BC7E-7AFC-4631-9324-26B650C32B4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pPr algn="l"/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 custLinFactNeighborX="1348" custLinFactNeighborY="2732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25CDC00A-1ABF-49F4-A40F-FA4236AF7CFF}" type="presOf" srcId="{66487DD0-4D79-4180-AB81-B361B4FACE09}" destId="{B9ED2192-F917-4BE7-A6BE-813D7F382554}" srcOrd="0" destOrd="0" presId="urn:microsoft.com/office/officeart/2005/8/layout/vList2"/>
    <dgm:cxn modelId="{614211B3-D8E7-4DE7-962F-F1BB8C809BC5}" type="presOf" srcId="{528F3EA0-FF05-41BA-8D3E-F7B5C76FE089}" destId="{1C2747ED-0D77-4E6D-821C-76CAEE910644}" srcOrd="0" destOrd="0" presId="urn:microsoft.com/office/officeart/2005/8/layout/vList2"/>
    <dgm:cxn modelId="{5B3470EA-4C1F-4D60-AE5B-5B9BCFF47E36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4DDA6DE-9563-457E-BE2E-1B475CE3E1E2}" type="presParOf" srcId="{B9ED2192-F917-4BE7-A6BE-813D7F382554}" destId="{1C2747ED-0D77-4E6D-821C-76CAEE910644}" srcOrd="0" destOrd="0" presId="urn:microsoft.com/office/officeart/2005/8/layout/vList2"/>
    <dgm:cxn modelId="{D18D477F-6990-4D62-BF4B-CAD766E71D5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 custT="1"/>
      <dgm:spPr/>
      <dgm:t>
        <a:bodyPr/>
        <a:lstStyle/>
        <a:p>
          <a:r>
            <a:rPr lang="en-US" sz="2000" dirty="0" smtClean="0"/>
            <a:t>improvement</a:t>
          </a:r>
          <a:r>
            <a:rPr lang="en-US" sz="1300" dirty="0" smtClean="0"/>
            <a:t>s</a:t>
          </a:r>
          <a:endParaRPr lang="en-US" sz="1300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Y="-12537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-10345" custLinFactNeighborY="312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23266513-B966-4178-97B6-CB8F0B375934}" type="presOf" srcId="{528F3EA0-FF05-41BA-8D3E-F7B5C76FE089}" destId="{1C2747ED-0D77-4E6D-821C-76CAEE910644}" srcOrd="0" destOrd="0" presId="urn:microsoft.com/office/officeart/2005/8/layout/vList2"/>
    <dgm:cxn modelId="{1ECE197E-0743-4C84-9141-E6013D0FEBFB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7ED54A60-4A05-4004-95F4-9E335541E858}" type="presOf" srcId="{66487DD0-4D79-4180-AB81-B361B4FACE09}" destId="{B9ED2192-F917-4BE7-A6BE-813D7F382554}" srcOrd="0" destOrd="0" presId="urn:microsoft.com/office/officeart/2005/8/layout/vList2"/>
    <dgm:cxn modelId="{84000308-84D9-4E06-9E9C-5460D09884D3}" type="presParOf" srcId="{B9ED2192-F917-4BE7-A6BE-813D7F382554}" destId="{1C2747ED-0D77-4E6D-821C-76CAEE910644}" srcOrd="0" destOrd="0" presId="urn:microsoft.com/office/officeart/2005/8/layout/vList2"/>
    <dgm:cxn modelId="{AA05F61E-56E7-481B-A845-B227E13ABF05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Y="-199999" custLinFactNeighborX="459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5E9E3408-17D7-4299-9AB7-7BCB5B5043AF}" type="presOf" srcId="{528F3EA0-FF05-41BA-8D3E-F7B5C76FE089}" destId="{1C2747ED-0D77-4E6D-821C-76CAEE910644}" srcOrd="0" destOrd="0" presId="urn:microsoft.com/office/officeart/2005/8/layout/vList2"/>
    <dgm:cxn modelId="{D9CF799B-6B0B-4BA7-8212-50FBEBCD114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25ED616-CE92-4FDD-813F-83EA052C17C7}" type="presOf" srcId="{66487DD0-4D79-4180-AB81-B361B4FACE09}" destId="{B9ED2192-F917-4BE7-A6BE-813D7F382554}" srcOrd="0" destOrd="0" presId="urn:microsoft.com/office/officeart/2005/8/layout/vList2"/>
    <dgm:cxn modelId="{1FBE72E9-2FB9-4880-B393-5A4427DD46E8}" type="presParOf" srcId="{B9ED2192-F917-4BE7-A6BE-813D7F382554}" destId="{1C2747ED-0D77-4E6D-821C-76CAEE910644}" srcOrd="0" destOrd="0" presId="urn:microsoft.com/office/officeart/2005/8/layout/vList2"/>
    <dgm:cxn modelId="{07696BE6-CC9C-4E7B-A8F0-FC78282AE235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6698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5FBC852-BC12-436D-A27D-AF51EBD2C3D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56C8DFC3-196D-4271-A956-4519ABE2DB9B}" type="presOf" srcId="{528F3EA0-FF05-41BA-8D3E-F7B5C76FE089}" destId="{1C2747ED-0D77-4E6D-821C-76CAEE910644}" srcOrd="0" destOrd="0" presId="urn:microsoft.com/office/officeart/2005/8/layout/vList2"/>
    <dgm:cxn modelId="{61CEEE8D-B089-4012-A2D0-9E9ED9DF3822}" type="presOf" srcId="{66487DD0-4D79-4180-AB81-B361B4FACE09}" destId="{B9ED2192-F917-4BE7-A6BE-813D7F382554}" srcOrd="0" destOrd="0" presId="urn:microsoft.com/office/officeart/2005/8/layout/vList2"/>
    <dgm:cxn modelId="{CAFDD532-F5B3-4D7F-B298-FBD65A49555D}" type="presParOf" srcId="{B9ED2192-F917-4BE7-A6BE-813D7F382554}" destId="{1C2747ED-0D77-4E6D-821C-76CAEE910644}" srcOrd="0" destOrd="0" presId="urn:microsoft.com/office/officeart/2005/8/layout/vList2"/>
    <dgm:cxn modelId="{0F5EA260-357F-4740-B41C-B2AF09A20115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E5ED9454-FB3B-4DDB-8EA4-EA7EE763509D}" type="presOf" srcId="{0BD08EE0-BF9E-4795-9B77-0FBE4D9C3FAA}" destId="{E5C0A0C3-950D-4232-9872-9174C1E989AA}" srcOrd="0" destOrd="0" presId="urn:microsoft.com/office/officeart/2005/8/layout/vList2"/>
    <dgm:cxn modelId="{49D0BFF0-2719-4915-B740-95075CA1F5B1}" type="presOf" srcId="{66487DD0-4D79-4180-AB81-B361B4FACE09}" destId="{B9ED2192-F917-4BE7-A6BE-813D7F382554}" srcOrd="0" destOrd="0" presId="urn:microsoft.com/office/officeart/2005/8/layout/vList2"/>
    <dgm:cxn modelId="{EC67D8D8-1E5A-4463-BA2E-B83FCB4E5632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213291A-BB52-4FAA-92A2-F4A97C36A80B}" type="presParOf" srcId="{B9ED2192-F917-4BE7-A6BE-813D7F382554}" destId="{1C2747ED-0D77-4E6D-821C-76CAEE910644}" srcOrd="0" destOrd="0" presId="urn:microsoft.com/office/officeart/2005/8/layout/vList2"/>
    <dgm:cxn modelId="{55C6F9CC-3502-4286-A347-06624AD14360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 custLinFactNeighborX="4000" custLinFactNeighborY="-4225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1BEAB33-9861-48DC-A23E-537D3AE15584}" type="presOf" srcId="{0BD08EE0-BF9E-4795-9B77-0FBE4D9C3FAA}" destId="{E5C0A0C3-950D-4232-9872-9174C1E989AA}" srcOrd="0" destOrd="0" presId="urn:microsoft.com/office/officeart/2005/8/layout/vList2"/>
    <dgm:cxn modelId="{DB42E785-0FD1-450F-88E0-695E9BB870EC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3AE0D04B-8A94-4F3A-BC05-6F72AA30DE60}" type="presOf" srcId="{66487DD0-4D79-4180-AB81-B361B4FACE09}" destId="{B9ED2192-F917-4BE7-A6BE-813D7F382554}" srcOrd="0" destOrd="0" presId="urn:microsoft.com/office/officeart/2005/8/layout/vList2"/>
    <dgm:cxn modelId="{C1E38DB6-C586-4E04-B319-2395E6C08F41}" type="presParOf" srcId="{B9ED2192-F917-4BE7-A6BE-813D7F382554}" destId="{1C2747ED-0D77-4E6D-821C-76CAEE910644}" srcOrd="0" destOrd="0" presId="urn:microsoft.com/office/officeart/2005/8/layout/vList2"/>
    <dgm:cxn modelId="{2744005E-A2A4-467E-B2BB-29864B9609F7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24DD0C-4CF0-43BC-B084-693FCDF8F553}">
      <dsp:nvSpPr>
        <dsp:cNvPr id="0" name=""/>
        <dsp:cNvSpPr/>
      </dsp:nvSpPr>
      <dsp:spPr>
        <a:xfrm>
          <a:off x="277632" y="1985212"/>
          <a:ext cx="1971817" cy="985908"/>
        </a:xfrm>
        <a:prstGeom prst="roundRect">
          <a:avLst>
            <a:gd name="adj" fmla="val 10000"/>
          </a:avLst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Admin</a:t>
          </a:r>
          <a:endParaRPr lang="en-US" sz="2800" b="1" kern="1200" dirty="0">
            <a:latin typeface="Candara" pitchFamily="34" charset="0"/>
          </a:endParaRPr>
        </a:p>
      </dsp:txBody>
      <dsp:txXfrm>
        <a:off x="306508" y="2014088"/>
        <a:ext cx="1914065" cy="928156"/>
      </dsp:txXfrm>
    </dsp:sp>
    <dsp:sp modelId="{FD87950B-4E8F-4C74-BDD6-4E61F5B5C7D8}">
      <dsp:nvSpPr>
        <dsp:cNvPr id="0" name=""/>
        <dsp:cNvSpPr/>
      </dsp:nvSpPr>
      <dsp:spPr>
        <a:xfrm rot="17901310">
          <a:off x="1797417" y="1700335"/>
          <a:ext cx="1721815" cy="40429"/>
        </a:xfrm>
        <a:custGeom>
          <a:avLst/>
          <a:gdLst/>
          <a:ahLst/>
          <a:cxnLst/>
          <a:rect l="0" t="0" r="0" b="0"/>
          <a:pathLst>
            <a:path>
              <a:moveTo>
                <a:pt x="0" y="20214"/>
              </a:moveTo>
              <a:lnTo>
                <a:pt x="1721815" y="2021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2615280" y="1677505"/>
        <a:ext cx="86090" cy="86090"/>
      </dsp:txXfrm>
    </dsp:sp>
    <dsp:sp modelId="{7F54B4CC-114B-48C7-B079-06621F228BC3}">
      <dsp:nvSpPr>
        <dsp:cNvPr id="0" name=""/>
        <dsp:cNvSpPr/>
      </dsp:nvSpPr>
      <dsp:spPr>
        <a:xfrm>
          <a:off x="3067201" y="469979"/>
          <a:ext cx="1971817" cy="985908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Candara" pitchFamily="34" charset="0"/>
            </a:rPr>
            <a:t>Add</a:t>
          </a:r>
          <a:endParaRPr lang="en-US" sz="2800" b="1" kern="1200" dirty="0">
            <a:latin typeface="Candara" pitchFamily="34" charset="0"/>
          </a:endParaRPr>
        </a:p>
      </dsp:txBody>
      <dsp:txXfrm>
        <a:off x="3096077" y="498855"/>
        <a:ext cx="1914065" cy="928156"/>
      </dsp:txXfrm>
    </dsp:sp>
    <dsp:sp modelId="{6A3CF635-21F9-41DB-89F7-334E54D1122C}">
      <dsp:nvSpPr>
        <dsp:cNvPr id="0" name=""/>
        <dsp:cNvSpPr/>
      </dsp:nvSpPr>
      <dsp:spPr>
        <a:xfrm rot="19698961">
          <a:off x="4972489" y="708265"/>
          <a:ext cx="892760" cy="40429"/>
        </a:xfrm>
        <a:custGeom>
          <a:avLst/>
          <a:gdLst/>
          <a:ahLst/>
          <a:cxnLst/>
          <a:rect l="0" t="0" r="0" b="0"/>
          <a:pathLst>
            <a:path>
              <a:moveTo>
                <a:pt x="0" y="20214"/>
              </a:moveTo>
              <a:lnTo>
                <a:pt x="892760" y="202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396551" y="706160"/>
        <a:ext cx="44638" cy="44638"/>
      </dsp:txXfrm>
    </dsp:sp>
    <dsp:sp modelId="{BAA03515-FF7D-49BC-9865-D8A9FAE629BB}">
      <dsp:nvSpPr>
        <dsp:cNvPr id="0" name=""/>
        <dsp:cNvSpPr/>
      </dsp:nvSpPr>
      <dsp:spPr>
        <a:xfrm>
          <a:off x="5798721" y="1071"/>
          <a:ext cx="1971817" cy="985908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0" kern="1200" dirty="0"/>
        </a:p>
      </dsp:txBody>
      <dsp:txXfrm>
        <a:off x="5827597" y="29947"/>
        <a:ext cx="1914065" cy="928156"/>
      </dsp:txXfrm>
    </dsp:sp>
    <dsp:sp modelId="{64695E6B-5FF3-43F8-93E3-AD0B55F654C8}">
      <dsp:nvSpPr>
        <dsp:cNvPr id="0" name=""/>
        <dsp:cNvSpPr/>
      </dsp:nvSpPr>
      <dsp:spPr>
        <a:xfrm rot="2297298">
          <a:off x="4937550" y="1235016"/>
          <a:ext cx="943474" cy="40429"/>
        </a:xfrm>
        <a:custGeom>
          <a:avLst/>
          <a:gdLst/>
          <a:ahLst/>
          <a:cxnLst/>
          <a:rect l="0" t="0" r="0" b="0"/>
          <a:pathLst>
            <a:path>
              <a:moveTo>
                <a:pt x="0" y="20214"/>
              </a:moveTo>
              <a:lnTo>
                <a:pt x="943474" y="202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385700" y="1231644"/>
        <a:ext cx="47173" cy="47173"/>
      </dsp:txXfrm>
    </dsp:sp>
    <dsp:sp modelId="{0E70CBDB-9D50-43FF-BC64-8691A0DD4EE1}">
      <dsp:nvSpPr>
        <dsp:cNvPr id="0" name=""/>
        <dsp:cNvSpPr/>
      </dsp:nvSpPr>
      <dsp:spPr>
        <a:xfrm>
          <a:off x="5779555" y="1054574"/>
          <a:ext cx="1971817" cy="985908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0" kern="1200" dirty="0"/>
        </a:p>
      </dsp:txBody>
      <dsp:txXfrm>
        <a:off x="5808431" y="1083450"/>
        <a:ext cx="1914065" cy="928156"/>
      </dsp:txXfrm>
    </dsp:sp>
    <dsp:sp modelId="{20E08445-CEA1-4B13-B0A1-55ECF1453D26}">
      <dsp:nvSpPr>
        <dsp:cNvPr id="0" name=""/>
        <dsp:cNvSpPr/>
      </dsp:nvSpPr>
      <dsp:spPr>
        <a:xfrm rot="21325884">
          <a:off x="2248100" y="2424120"/>
          <a:ext cx="849476" cy="40429"/>
        </a:xfrm>
        <a:custGeom>
          <a:avLst/>
          <a:gdLst/>
          <a:ahLst/>
          <a:cxnLst/>
          <a:rect l="0" t="0" r="0" b="0"/>
          <a:pathLst>
            <a:path>
              <a:moveTo>
                <a:pt x="0" y="20214"/>
              </a:moveTo>
              <a:lnTo>
                <a:pt x="849476" y="2021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651601" y="2423098"/>
        <a:ext cx="42473" cy="42473"/>
      </dsp:txXfrm>
    </dsp:sp>
    <dsp:sp modelId="{07475B80-5E8B-48F3-8957-8808AB0FCA62}">
      <dsp:nvSpPr>
        <dsp:cNvPr id="0" name=""/>
        <dsp:cNvSpPr/>
      </dsp:nvSpPr>
      <dsp:spPr>
        <a:xfrm>
          <a:off x="3096227" y="1917549"/>
          <a:ext cx="1971817" cy="985908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mtClean="0">
              <a:latin typeface="Candara" pitchFamily="34" charset="0"/>
            </a:rPr>
            <a:t>Update</a:t>
          </a:r>
          <a:endParaRPr lang="en-US" sz="2800" b="1" kern="1200" dirty="0">
            <a:latin typeface="Candara" pitchFamily="34" charset="0"/>
          </a:endParaRPr>
        </a:p>
      </dsp:txBody>
      <dsp:txXfrm>
        <a:off x="3125103" y="1946425"/>
        <a:ext cx="1914065" cy="928156"/>
      </dsp:txXfrm>
    </dsp:sp>
    <dsp:sp modelId="{A639F305-37F7-4B70-9908-5F6F0D858380}">
      <dsp:nvSpPr>
        <dsp:cNvPr id="0" name=""/>
        <dsp:cNvSpPr/>
      </dsp:nvSpPr>
      <dsp:spPr>
        <a:xfrm rot="1539939">
          <a:off x="5028053" y="2565845"/>
          <a:ext cx="810658" cy="40429"/>
        </a:xfrm>
        <a:custGeom>
          <a:avLst/>
          <a:gdLst/>
          <a:ahLst/>
          <a:cxnLst/>
          <a:rect l="0" t="0" r="0" b="0"/>
          <a:pathLst>
            <a:path>
              <a:moveTo>
                <a:pt x="0" y="20214"/>
              </a:moveTo>
              <a:lnTo>
                <a:pt x="810658" y="202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413116" y="2565793"/>
        <a:ext cx="40532" cy="40532"/>
      </dsp:txXfrm>
    </dsp:sp>
    <dsp:sp modelId="{C7A2A90B-5EF3-4246-B9EF-8F34C4121B75}">
      <dsp:nvSpPr>
        <dsp:cNvPr id="0" name=""/>
        <dsp:cNvSpPr/>
      </dsp:nvSpPr>
      <dsp:spPr>
        <a:xfrm>
          <a:off x="5798721" y="2268661"/>
          <a:ext cx="1971817" cy="985908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0" kern="1200" dirty="0"/>
        </a:p>
      </dsp:txBody>
      <dsp:txXfrm>
        <a:off x="5827597" y="2297537"/>
        <a:ext cx="1914065" cy="928156"/>
      </dsp:txXfrm>
    </dsp:sp>
    <dsp:sp modelId="{272A0943-0322-47DF-966B-D649E405F93C}">
      <dsp:nvSpPr>
        <dsp:cNvPr id="0" name=""/>
        <dsp:cNvSpPr/>
      </dsp:nvSpPr>
      <dsp:spPr>
        <a:xfrm rot="3418423">
          <a:off x="1914184" y="3075772"/>
          <a:ext cx="1473770" cy="40429"/>
        </a:xfrm>
        <a:custGeom>
          <a:avLst/>
          <a:gdLst/>
          <a:ahLst/>
          <a:cxnLst/>
          <a:rect l="0" t="0" r="0" b="0"/>
          <a:pathLst>
            <a:path>
              <a:moveTo>
                <a:pt x="0" y="20214"/>
              </a:moveTo>
              <a:lnTo>
                <a:pt x="1473770" y="2021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614225" y="3059142"/>
        <a:ext cx="73688" cy="73688"/>
      </dsp:txXfrm>
    </dsp:sp>
    <dsp:sp modelId="{CFC22410-DAE8-4192-B271-6971B6DEF6F5}">
      <dsp:nvSpPr>
        <dsp:cNvPr id="0" name=""/>
        <dsp:cNvSpPr/>
      </dsp:nvSpPr>
      <dsp:spPr>
        <a:xfrm>
          <a:off x="3052689" y="3220852"/>
          <a:ext cx="1971817" cy="985908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mtClean="0">
              <a:latin typeface="Candara" pitchFamily="34" charset="0"/>
            </a:rPr>
            <a:t>Delete</a:t>
          </a:r>
          <a:endParaRPr lang="en-US" sz="2800" b="1" kern="1200" dirty="0">
            <a:latin typeface="Candara" pitchFamily="34" charset="0"/>
          </a:endParaRPr>
        </a:p>
      </dsp:txBody>
      <dsp:txXfrm>
        <a:off x="3081565" y="3249728"/>
        <a:ext cx="1914065" cy="928156"/>
      </dsp:txXfrm>
    </dsp:sp>
    <dsp:sp modelId="{090DA268-5E02-4278-AC6D-CE8440B87EF1}">
      <dsp:nvSpPr>
        <dsp:cNvPr id="0" name=""/>
        <dsp:cNvSpPr/>
      </dsp:nvSpPr>
      <dsp:spPr>
        <a:xfrm rot="802640">
          <a:off x="5013795" y="3784929"/>
          <a:ext cx="789564" cy="40429"/>
        </a:xfrm>
        <a:custGeom>
          <a:avLst/>
          <a:gdLst/>
          <a:ahLst/>
          <a:cxnLst/>
          <a:rect l="0" t="0" r="0" b="0"/>
          <a:pathLst>
            <a:path>
              <a:moveTo>
                <a:pt x="0" y="20214"/>
              </a:moveTo>
              <a:lnTo>
                <a:pt x="789564" y="2021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388838" y="3785405"/>
        <a:ext cx="39478" cy="39478"/>
      </dsp:txXfrm>
    </dsp:sp>
    <dsp:sp modelId="{C757D30D-E0C4-4BDA-8118-DDF238262DEC}">
      <dsp:nvSpPr>
        <dsp:cNvPr id="0" name=""/>
        <dsp:cNvSpPr/>
      </dsp:nvSpPr>
      <dsp:spPr>
        <a:xfrm>
          <a:off x="5792647" y="3403528"/>
          <a:ext cx="1971817" cy="985908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0" kern="1200" dirty="0"/>
        </a:p>
      </dsp:txBody>
      <dsp:txXfrm>
        <a:off x="5821523" y="3432404"/>
        <a:ext cx="1914065" cy="92815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411003"/>
          <a:ext cx="1905000" cy="5795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439297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304800"/>
          <a:ext cx="1905000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3352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28599"/>
          <a:ext cx="1905000" cy="45507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50814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699239"/>
          <a:ext cx="1905000" cy="596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699239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C0ACD-2046-4931-B75C-A6BAEB8B91E9}">
      <dsp:nvSpPr>
        <dsp:cNvPr id="0" name=""/>
        <dsp:cNvSpPr/>
      </dsp:nvSpPr>
      <dsp:spPr>
        <a:xfrm>
          <a:off x="161751" y="2574573"/>
          <a:ext cx="7144067" cy="548964"/>
        </a:xfrm>
        <a:prstGeom prst="rec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sz="1900" b="1" kern="1200" dirty="0">
            <a:latin typeface="Candara" pitchFamily="34" charset="0"/>
            <a:cs typeface="Aharoni" pitchFamily="2" charset="-79"/>
          </a:endParaRPr>
        </a:p>
      </dsp:txBody>
      <dsp:txXfrm>
        <a:off x="161751" y="2574573"/>
        <a:ext cx="7144067" cy="548964"/>
      </dsp:txXfrm>
    </dsp:sp>
    <dsp:sp modelId="{81B3D6AD-2D1D-474B-A4D5-3972420D28F3}">
      <dsp:nvSpPr>
        <dsp:cNvPr id="0" name=""/>
        <dsp:cNvSpPr/>
      </dsp:nvSpPr>
      <dsp:spPr>
        <a:xfrm rot="10800000">
          <a:off x="173071" y="1779873"/>
          <a:ext cx="7105782" cy="872249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kern="1200" dirty="0" smtClean="0">
              <a:latin typeface="Candara" pitchFamily="34" charset="0"/>
            </a:rPr>
            <a:t> </a:t>
          </a: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3071" y="1779873"/>
        <a:ext cx="7105782" cy="566761"/>
      </dsp:txXfrm>
    </dsp:sp>
    <dsp:sp modelId="{E3939F56-722C-42DF-A72E-296AD4711193}">
      <dsp:nvSpPr>
        <dsp:cNvPr id="0" name=""/>
        <dsp:cNvSpPr/>
      </dsp:nvSpPr>
      <dsp:spPr>
        <a:xfrm rot="10800000">
          <a:off x="175290" y="858577"/>
          <a:ext cx="7116989" cy="976481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5290" y="858577"/>
        <a:ext cx="7116989" cy="634488"/>
      </dsp:txXfrm>
    </dsp:sp>
    <dsp:sp modelId="{0652BC7E-7AFC-4631-9324-26B650C32B4C}">
      <dsp:nvSpPr>
        <dsp:cNvPr id="0" name=""/>
        <dsp:cNvSpPr/>
      </dsp:nvSpPr>
      <dsp:spPr>
        <a:xfrm rot="10800000">
          <a:off x="188753" y="0"/>
          <a:ext cx="7092469" cy="944634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88753" y="0"/>
        <a:ext cx="7092469" cy="6137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CC0ACD-2046-4931-B75C-A6BAEB8B91E9}">
      <dsp:nvSpPr>
        <dsp:cNvPr id="0" name=""/>
        <dsp:cNvSpPr/>
      </dsp:nvSpPr>
      <dsp:spPr>
        <a:xfrm>
          <a:off x="161751" y="2574573"/>
          <a:ext cx="7144067" cy="548964"/>
        </a:xfrm>
        <a:prstGeom prst="rec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latin typeface="Candara" pitchFamily="34" charset="0"/>
              <a:cs typeface="Aharoni" pitchFamily="2" charset="-79"/>
            </a:rPr>
            <a:t>Check Status</a:t>
          </a:r>
          <a:endParaRPr lang="en-US" sz="1900" b="1" kern="1200" dirty="0">
            <a:latin typeface="Candara" pitchFamily="34" charset="0"/>
            <a:cs typeface="Aharoni" pitchFamily="2" charset="-79"/>
          </a:endParaRPr>
        </a:p>
      </dsp:txBody>
      <dsp:txXfrm>
        <a:off x="161751" y="2574573"/>
        <a:ext cx="7144067" cy="548964"/>
      </dsp:txXfrm>
    </dsp:sp>
    <dsp:sp modelId="{81B3D6AD-2D1D-474B-A4D5-3972420D28F3}">
      <dsp:nvSpPr>
        <dsp:cNvPr id="0" name=""/>
        <dsp:cNvSpPr/>
      </dsp:nvSpPr>
      <dsp:spPr>
        <a:xfrm rot="10800000">
          <a:off x="173071" y="1779873"/>
          <a:ext cx="7105782" cy="872249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Book</a:t>
          </a:r>
          <a:r>
            <a:rPr lang="en-US" sz="2000" kern="1200" dirty="0" smtClean="0">
              <a:latin typeface="Candara" pitchFamily="34" charset="0"/>
            </a:rPr>
            <a:t> </a:t>
          </a: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3071" y="1779873"/>
        <a:ext cx="7105782" cy="566761"/>
      </dsp:txXfrm>
    </dsp:sp>
    <dsp:sp modelId="{E3939F56-722C-42DF-A72E-296AD4711193}">
      <dsp:nvSpPr>
        <dsp:cNvPr id="0" name=""/>
        <dsp:cNvSpPr/>
      </dsp:nvSpPr>
      <dsp:spPr>
        <a:xfrm rot="10800000">
          <a:off x="175290" y="858577"/>
          <a:ext cx="7116989" cy="976481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Check Rooms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75290" y="858577"/>
        <a:ext cx="7116989" cy="634488"/>
      </dsp:txXfrm>
    </dsp:sp>
    <dsp:sp modelId="{0652BC7E-7AFC-4631-9324-26B650C32B4C}">
      <dsp:nvSpPr>
        <dsp:cNvPr id="0" name=""/>
        <dsp:cNvSpPr/>
      </dsp:nvSpPr>
      <dsp:spPr>
        <a:xfrm rot="10800000">
          <a:off x="188753" y="0"/>
          <a:ext cx="7092469" cy="944634"/>
        </a:xfrm>
        <a:prstGeom prst="upArrowCallout">
          <a:avLst/>
        </a:prstGeom>
        <a:gradFill rotWithShape="1">
          <a:gsLst>
            <a:gs pos="0">
              <a:schemeClr val="accent1">
                <a:shade val="51000"/>
                <a:satMod val="130000"/>
              </a:schemeClr>
            </a:gs>
            <a:gs pos="80000">
              <a:schemeClr val="accent1">
                <a:shade val="93000"/>
                <a:satMod val="130000"/>
              </a:schemeClr>
            </a:gs>
            <a:gs pos="100000">
              <a:schemeClr val="accent1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Candara" pitchFamily="34" charset="0"/>
              <a:cs typeface="Aharoni" pitchFamily="2" charset="-79"/>
            </a:rPr>
            <a:t>Search Hotel</a:t>
          </a:r>
          <a:endParaRPr lang="en-US" sz="2400" b="1" kern="1200" dirty="0">
            <a:latin typeface="Candara" pitchFamily="34" charset="0"/>
            <a:cs typeface="Aharoni" pitchFamily="2" charset="-79"/>
          </a:endParaRPr>
        </a:p>
      </dsp:txBody>
      <dsp:txXfrm rot="10800000">
        <a:off x="188753" y="0"/>
        <a:ext cx="7092469" cy="6137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23161"/>
          <a:ext cx="1828800" cy="46953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ile Handling</a:t>
          </a:r>
          <a:endParaRPr lang="en-US" sz="1800" kern="1200" dirty="0"/>
        </a:p>
      </dsp:txBody>
      <dsp:txXfrm>
        <a:off x="22921" y="146082"/>
        <a:ext cx="1782958" cy="423690"/>
      </dsp:txXfrm>
    </dsp:sp>
    <dsp:sp modelId="{E5C0A0C3-950D-4232-9872-9174C1E989AA}">
      <dsp:nvSpPr>
        <dsp:cNvPr id="0" name=""/>
        <dsp:cNvSpPr/>
      </dsp:nvSpPr>
      <dsp:spPr>
        <a:xfrm>
          <a:off x="0" y="473063"/>
          <a:ext cx="1828800" cy="437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064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Storage of information</a:t>
          </a:r>
          <a:endParaRPr lang="en-US" sz="1400" kern="1200" dirty="0"/>
        </a:p>
      </dsp:txBody>
      <dsp:txXfrm>
        <a:off x="0" y="473063"/>
        <a:ext cx="1828800" cy="43780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2209800" cy="72303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Query</a:t>
          </a:r>
          <a:endParaRPr lang="en-US" sz="3000" kern="1200" dirty="0"/>
        </a:p>
      </dsp:txBody>
      <dsp:txXfrm>
        <a:off x="35296" y="35296"/>
        <a:ext cx="2139208" cy="652446"/>
      </dsp:txXfrm>
    </dsp:sp>
    <dsp:sp modelId="{E5C0A0C3-950D-4232-9872-9174C1E989AA}">
      <dsp:nvSpPr>
        <dsp:cNvPr id="0" name=""/>
        <dsp:cNvSpPr/>
      </dsp:nvSpPr>
      <dsp:spPr>
        <a:xfrm>
          <a:off x="0" y="729120"/>
          <a:ext cx="2209800" cy="794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improvement</a:t>
          </a:r>
          <a:r>
            <a:rPr lang="en-US" sz="1300" kern="1200" dirty="0" smtClean="0"/>
            <a:t>s</a:t>
          </a:r>
          <a:endParaRPr lang="en-US" sz="1300" kern="1200" dirty="0"/>
        </a:p>
      </dsp:txBody>
      <dsp:txXfrm>
        <a:off x="0" y="729120"/>
        <a:ext cx="2209800" cy="7948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9152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337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773203"/>
          <a:ext cx="1905000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773203"/>
        <a:ext cx="1905000" cy="36432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42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1369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/2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560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885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962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anuary 20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../RVFD/Hotel%20Bookings%20Management%20System_Admin.xls" TargetMode="External"/><Relationship Id="rId7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hyperlink" Target="../RVFD/Hotel%20Bookings%20Management%20System_Customer.xls" TargetMode="External"/><Relationship Id="rId5" Type="http://schemas.openxmlformats.org/officeDocument/2006/relationships/hyperlink" Target="../RVFD/Hotel%20Bookings%20Management%20System_Employee.xls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8.gif"/><Relationship Id="rId9" Type="http://schemas.openxmlformats.org/officeDocument/2006/relationships/image" Target="../media/image1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18" Type="http://schemas.openxmlformats.org/officeDocument/2006/relationships/diagramData" Target="../diagrams/data7.xml"/><Relationship Id="rId26" Type="http://schemas.openxmlformats.org/officeDocument/2006/relationships/diagramColors" Target="../diagrams/colors8.xml"/><Relationship Id="rId39" Type="http://schemas.openxmlformats.org/officeDocument/2006/relationships/diagramLayout" Target="../diagrams/layout11.xml"/><Relationship Id="rId3" Type="http://schemas.openxmlformats.org/officeDocument/2006/relationships/diagramData" Target="../diagrams/data4.xml"/><Relationship Id="rId21" Type="http://schemas.openxmlformats.org/officeDocument/2006/relationships/diagramColors" Target="../diagrams/colors7.xml"/><Relationship Id="rId34" Type="http://schemas.openxmlformats.org/officeDocument/2006/relationships/diagramLayout" Target="../diagrams/layout10.xml"/><Relationship Id="rId42" Type="http://schemas.microsoft.com/office/2007/relationships/diagramDrawing" Target="../diagrams/drawing11.xml"/><Relationship Id="rId47" Type="http://schemas.microsoft.com/office/2007/relationships/diagramDrawing" Target="../diagrams/drawing12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5" Type="http://schemas.openxmlformats.org/officeDocument/2006/relationships/diagramQuickStyle" Target="../diagrams/quickStyle8.xml"/><Relationship Id="rId33" Type="http://schemas.openxmlformats.org/officeDocument/2006/relationships/diagramData" Target="../diagrams/data10.xml"/><Relationship Id="rId38" Type="http://schemas.openxmlformats.org/officeDocument/2006/relationships/diagramData" Target="../diagrams/data11.xml"/><Relationship Id="rId46" Type="http://schemas.openxmlformats.org/officeDocument/2006/relationships/diagramColors" Target="../diagrams/colors12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6.xml"/><Relationship Id="rId20" Type="http://schemas.openxmlformats.org/officeDocument/2006/relationships/diagramQuickStyle" Target="../diagrams/quickStyle7.xml"/><Relationship Id="rId29" Type="http://schemas.openxmlformats.org/officeDocument/2006/relationships/diagramLayout" Target="../diagrams/layout9.xml"/><Relationship Id="rId41" Type="http://schemas.openxmlformats.org/officeDocument/2006/relationships/diagramColors" Target="../diagrams/colors11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24" Type="http://schemas.openxmlformats.org/officeDocument/2006/relationships/diagramLayout" Target="../diagrams/layout8.xml"/><Relationship Id="rId32" Type="http://schemas.microsoft.com/office/2007/relationships/diagramDrawing" Target="../diagrams/drawing9.xml"/><Relationship Id="rId37" Type="http://schemas.microsoft.com/office/2007/relationships/diagramDrawing" Target="../diagrams/drawing10.xml"/><Relationship Id="rId40" Type="http://schemas.openxmlformats.org/officeDocument/2006/relationships/diagramQuickStyle" Target="../diagrams/quickStyle11.xml"/><Relationship Id="rId45" Type="http://schemas.openxmlformats.org/officeDocument/2006/relationships/diagramQuickStyle" Target="../diagrams/quickStyle12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23" Type="http://schemas.openxmlformats.org/officeDocument/2006/relationships/diagramData" Target="../diagrams/data8.xml"/><Relationship Id="rId28" Type="http://schemas.openxmlformats.org/officeDocument/2006/relationships/diagramData" Target="../diagrams/data9.xml"/><Relationship Id="rId36" Type="http://schemas.openxmlformats.org/officeDocument/2006/relationships/diagramColors" Target="../diagrams/colors10.xml"/><Relationship Id="rId10" Type="http://schemas.openxmlformats.org/officeDocument/2006/relationships/diagramQuickStyle" Target="../diagrams/quickStyle5.xml"/><Relationship Id="rId19" Type="http://schemas.openxmlformats.org/officeDocument/2006/relationships/diagramLayout" Target="../diagrams/layout7.xml"/><Relationship Id="rId31" Type="http://schemas.openxmlformats.org/officeDocument/2006/relationships/diagramColors" Target="../diagrams/colors9.xml"/><Relationship Id="rId44" Type="http://schemas.openxmlformats.org/officeDocument/2006/relationships/diagramLayout" Target="../diagrams/layout12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Relationship Id="rId22" Type="http://schemas.microsoft.com/office/2007/relationships/diagramDrawing" Target="../diagrams/drawing7.xml"/><Relationship Id="rId27" Type="http://schemas.microsoft.com/office/2007/relationships/diagramDrawing" Target="../diagrams/drawing8.xml"/><Relationship Id="rId30" Type="http://schemas.openxmlformats.org/officeDocument/2006/relationships/diagramQuickStyle" Target="../diagrams/quickStyle9.xml"/><Relationship Id="rId35" Type="http://schemas.openxmlformats.org/officeDocument/2006/relationships/diagramQuickStyle" Target="../diagrams/quickStyle10.xml"/><Relationship Id="rId43" Type="http://schemas.openxmlformats.org/officeDocument/2006/relationships/diagramData" Target="../diagrams/data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Project%20-%20Copy%20Updated/Use%20Cases/Hotel%20Booking%20Management%20Sysytem%20Use%20Case%20Admin.doc" TargetMode="External"/><Relationship Id="rId7" Type="http://schemas.openxmlformats.org/officeDocument/2006/relationships/image" Target="../media/image3.jpeg"/><Relationship Id="rId2" Type="http://schemas.openxmlformats.org/officeDocument/2006/relationships/hyperlink" Target="../Use%20Cases/Hotel%20Booking%20Management%20Sysytem%20Use%20Case%20Admin.doc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../Use%20Cases/Hotel%20Booking%20Management%20Sysytem%20Use%20Case%20Customer.doc" TargetMode="External"/><Relationship Id="rId5" Type="http://schemas.openxmlformats.org/officeDocument/2006/relationships/hyperlink" Target="../Use%20Cases/Hotel%20Booking%20Management%20Sysytem%20Use%20Case%20Employee.doc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8.gif"/><Relationship Id="rId9" Type="http://schemas.openxmlformats.org/officeDocument/2006/relationships/image" Target="../media/image10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8.gif"/><Relationship Id="rId2" Type="http://schemas.openxmlformats.org/officeDocument/2006/relationships/hyperlink" Target="../DRDR/Defect_Tracking_Updated_ver1.0.xls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.jpeg"/><Relationship Id="rId4" Type="http://schemas.openxmlformats.org/officeDocument/2006/relationships/image" Target="../media/image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3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860889" y="853168"/>
            <a:ext cx="7772400" cy="147002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400" b="1" dirty="0" smtClean="0">
                <a:latin typeface="Aparajita" panose="020B0604020202020204" pitchFamily="34" charset="0"/>
                <a:cs typeface="Aparajita" panose="020B0604020202020204" pitchFamily="34" charset="0"/>
              </a:rPr>
              <a:t>HOTEL  BOOKING MANAGEMENT                SYSTEM</a:t>
            </a:r>
            <a:r>
              <a:rPr lang="en-US" sz="4000" dirty="0" smtClean="0"/>
              <a:t/>
            </a:r>
            <a:br>
              <a:rPr lang="en-US" sz="4000" dirty="0" smtClean="0"/>
            </a:br>
            <a:endParaRPr lang="en-US" sz="4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darraj\Desktop\Hotel-Bookin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8" y="2656113"/>
            <a:ext cx="9144000" cy="426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102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irement Item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q"/>
            </a:pPr>
            <a:endParaRPr lang="en-US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465" y="0"/>
            <a:ext cx="10239828" cy="870856"/>
          </a:xfrm>
        </p:spPr>
        <p:txBody>
          <a:bodyPr anchor="ctr">
            <a:noAutofit/>
          </a:bodyPr>
          <a:lstStyle/>
          <a:p>
            <a:r>
              <a:rPr lang="en-US" sz="2400" dirty="0" smtClean="0">
                <a:solidFill>
                  <a:schemeClr val="tx1"/>
                </a:solidFill>
                <a:latin typeface="Candara Bold" pitchFamily="34" charset="0"/>
                <a:cs typeface="Aharoni" pitchFamily="2" charset="-79"/>
              </a:rPr>
              <a:t>REQUIREMENTS</a:t>
            </a:r>
            <a:r>
              <a:rPr lang="en-US" sz="2400" b="1" dirty="0" smtClean="0">
                <a:solidFill>
                  <a:schemeClr val="tx1"/>
                </a:solidFill>
                <a:latin typeface="Candara Bold" pitchFamily="34" charset="0"/>
                <a:cs typeface="Aharoni" pitchFamily="2" charset="-79"/>
              </a:rPr>
              <a:t> VALIDATION AND FUNCTIONAL DECOMPOSITION</a:t>
            </a:r>
            <a:endParaRPr lang="en-US" sz="2400" b="1" dirty="0">
              <a:solidFill>
                <a:schemeClr val="tx1"/>
              </a:solidFill>
              <a:latin typeface="Candara Bold" pitchFamily="34" charset="0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3571" y="1004827"/>
            <a:ext cx="7699829" cy="5187251"/>
          </a:xfrm>
          <a:solidFill>
            <a:schemeClr val="bg1"/>
          </a:solidFill>
        </p:spPr>
        <p:txBody>
          <a:bodyPr>
            <a:normAutofit fontScale="400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dirty="0">
                <a:hlinkClick r:id="rId3" action="ppaction://hlinkfile"/>
              </a:rPr>
              <a:t>Admin    </a:t>
            </a:r>
            <a:r>
              <a:rPr lang="en-US" sz="3600" dirty="0">
                <a:hlinkClick r:id="rId3" action="ppaction://hlinkfile"/>
              </a:rPr>
              <a:t> </a:t>
            </a:r>
            <a:r>
              <a:rPr lang="en-US" sz="3600" dirty="0"/>
              <a:t>         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Admin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Add </a:t>
            </a:r>
            <a:r>
              <a:rPr lang="en-US" sz="4300" b="1" dirty="0" smtClean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buBlip>
                <a:blip r:embed="rId4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Update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Delete Room                                                   </a:t>
            </a:r>
          </a:p>
          <a:p>
            <a:pPr marL="0" indent="0"/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hlinkClick r:id="rId5" action="ppaction://hlinkfile"/>
              </a:rPr>
              <a:t>Employee</a:t>
            </a:r>
            <a:endParaRPr lang="en-US" sz="6000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Employee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Search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pPr marL="0" indent="0"/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>
                <a:hlinkClick r:id="rId6" action="ppaction://hlinkfile"/>
              </a:rPr>
              <a:t>Customer</a:t>
            </a:r>
            <a:endParaRPr lang="en-US" sz="6000" dirty="0"/>
          </a:p>
          <a:p>
            <a:pPr lvl="3">
              <a:buBlip>
                <a:blip r:embed="rId4"/>
              </a:buBlip>
            </a:pPr>
            <a:r>
              <a:rPr lang="en-US" sz="4300" b="1" dirty="0"/>
              <a:t>Customer Login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Search Hotel</a:t>
            </a:r>
          </a:p>
          <a:p>
            <a:pPr lvl="3">
              <a:buBlip>
                <a:blip r:embed="rId4"/>
              </a:buBlip>
            </a:pPr>
            <a:r>
              <a:rPr lang="en-US" sz="4300" b="1" dirty="0"/>
              <a:t>Book Rooms                                                    </a:t>
            </a: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526" y="1551319"/>
            <a:ext cx="909010" cy="1117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113" y="4648200"/>
            <a:ext cx="1435246" cy="10226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6269" y="2906269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8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/>
              <a:t>Requirements Validation And Functional Decomposition</a:t>
            </a:r>
            <a:endParaRPr lang="en-IN" sz="24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527462" y="1221394"/>
            <a:ext cx="8001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2400" dirty="0">
              <a:latin typeface="Cambria" panose="02040503050406030204" pitchFamily="18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733928254"/>
              </p:ext>
            </p:extLst>
          </p:nvPr>
        </p:nvGraphicFramePr>
        <p:xfrm>
          <a:off x="4191000" y="990600"/>
          <a:ext cx="1828800" cy="91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239509494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979490436"/>
              </p:ext>
            </p:extLst>
          </p:nvPr>
        </p:nvGraphicFramePr>
        <p:xfrm>
          <a:off x="3581400" y="5257800"/>
          <a:ext cx="1905000" cy="121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148770630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948122923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729179941"/>
              </p:ext>
            </p:extLst>
          </p:nvPr>
        </p:nvGraphicFramePr>
        <p:xfrm>
          <a:off x="15240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3355172939"/>
              </p:ext>
            </p:extLst>
          </p:nvPr>
        </p:nvGraphicFramePr>
        <p:xfrm>
          <a:off x="6096000" y="1676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619338579"/>
              </p:ext>
            </p:extLst>
          </p:nvPr>
        </p:nvGraphicFramePr>
        <p:xfrm>
          <a:off x="5943600" y="29718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121452817"/>
              </p:ext>
            </p:extLst>
          </p:nvPr>
        </p:nvGraphicFramePr>
        <p:xfrm>
          <a:off x="5867400" y="42672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6" name="Oval 15"/>
          <p:cNvSpPr/>
          <p:nvPr/>
        </p:nvSpPr>
        <p:spPr>
          <a:xfrm>
            <a:off x="3505200" y="2667000"/>
            <a:ext cx="1447800" cy="1524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VF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418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Use Case 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365760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Use Case is a list of actions or event steps , typically defining the interactions between a role termed as Actor and  a System ,to Achieve a goal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Actor can be a user or any System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use case diagram at its simplest representation between the user and different use cases in which user is involved 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use case diagram can identify the different types of users of a system and the different types of use cases and will be accompanied by other types of diagrams as well  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46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9235" y="220618"/>
            <a:ext cx="7520940" cy="548640"/>
          </a:xfrm>
        </p:spPr>
        <p:txBody>
          <a:bodyPr anchor="ctr"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       USE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CASES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7828" y="885370"/>
            <a:ext cx="8229600" cy="5306707"/>
          </a:xfrm>
        </p:spPr>
        <p:txBody>
          <a:bodyPr>
            <a:normAutofit fontScale="47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2" action="ppaction://hlinkfile"/>
              </a:rPr>
              <a:t>Admin</a:t>
            </a:r>
            <a:r>
              <a:rPr lang="en-US" sz="6000" b="1" dirty="0" smtClean="0">
                <a:solidFill>
                  <a:schemeClr val="tx1"/>
                </a:solidFill>
                <a:hlinkClick r:id="rId2" action="ppaction://hlinkfile"/>
              </a:rPr>
              <a:t> </a:t>
            </a:r>
            <a:r>
              <a:rPr lang="en-US" sz="6000" b="1" dirty="0" smtClean="0">
                <a:solidFill>
                  <a:schemeClr val="tx1"/>
                </a:solidFill>
                <a:hlinkClick r:id="rId3" action="ppaction://hlinkfile"/>
              </a:rPr>
              <a:t> </a:t>
            </a:r>
            <a:r>
              <a:rPr lang="en-US" sz="6000" b="1" dirty="0" smtClean="0">
                <a:solidFill>
                  <a:schemeClr val="tx1"/>
                </a:solidFill>
              </a:rPr>
              <a:t>  </a:t>
            </a:r>
            <a:r>
              <a:rPr lang="en-US" sz="6000" b="1" dirty="0" smtClean="0"/>
              <a:t>      </a:t>
            </a:r>
            <a:r>
              <a:rPr lang="en-US" sz="3600" b="1" dirty="0" smtClean="0"/>
              <a:t>    </a:t>
            </a:r>
            <a:endParaRPr lang="en-US" sz="3600" b="1" dirty="0"/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min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 with Flight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Hotel with Cab</a:t>
            </a:r>
            <a:endParaRPr lang="en-US" sz="3500" b="1" dirty="0"/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Add </a:t>
            </a:r>
            <a:r>
              <a:rPr lang="en-US" sz="3500" b="1" dirty="0"/>
              <a:t>Room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Update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Delete </a:t>
            </a:r>
            <a:r>
              <a:rPr lang="en-US" sz="3500" b="1" dirty="0"/>
              <a:t>Hotel                                                   </a:t>
            </a:r>
          </a:p>
          <a:p>
            <a:pPr marL="0" indent="0">
              <a:buNone/>
            </a:pPr>
            <a:endParaRPr lang="en-US" sz="3500" b="1" dirty="0"/>
          </a:p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5" action="ppaction://hlinkfile"/>
              </a:rPr>
              <a:t>Employee</a:t>
            </a:r>
            <a:endParaRPr lang="en-US" sz="6000" b="1" dirty="0">
              <a:solidFill>
                <a:schemeClr val="tx1"/>
              </a:solidFill>
            </a:endParaRP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Employee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Search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Book </a:t>
            </a:r>
            <a:r>
              <a:rPr lang="en-US" sz="3500" b="1" dirty="0"/>
              <a:t>Rooms                                                    </a:t>
            </a:r>
          </a:p>
          <a:p>
            <a:pPr marL="0" indent="0">
              <a:buNone/>
            </a:pPr>
            <a:endParaRPr lang="en-US" sz="2700" b="1" dirty="0"/>
          </a:p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  <a:hlinkClick r:id="rId6" action="ppaction://hlinkfile"/>
              </a:rPr>
              <a:t>Customer</a:t>
            </a:r>
            <a:endParaRPr lang="en-US" sz="6000" b="1" dirty="0">
              <a:solidFill>
                <a:schemeClr val="tx1"/>
              </a:solidFill>
            </a:endParaRP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Customer </a:t>
            </a:r>
            <a:r>
              <a:rPr lang="en-US" sz="3500" b="1" dirty="0"/>
              <a:t>Login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Search </a:t>
            </a:r>
            <a:r>
              <a:rPr lang="en-US" sz="3500" b="1" dirty="0"/>
              <a:t>Hotel</a:t>
            </a:r>
          </a:p>
          <a:p>
            <a:pPr lvl="3">
              <a:buBlip>
                <a:blip r:embed="rId4"/>
              </a:buBlip>
            </a:pPr>
            <a:r>
              <a:rPr lang="en-US" sz="3500" b="1" dirty="0" smtClean="0"/>
              <a:t>Book </a:t>
            </a:r>
            <a:r>
              <a:rPr lang="en-US" sz="3500" b="1" dirty="0"/>
              <a:t>Rooms                                                    </a:t>
            </a: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952" y="1524000"/>
            <a:ext cx="909010" cy="1117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952" y="5005797"/>
            <a:ext cx="1435246" cy="10226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949" y="2998478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65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Defect report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33400" y="1295400"/>
            <a:ext cx="7848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 </a:t>
            </a:r>
            <a:r>
              <a:rPr lang="en-US" sz="2400" b="1" dirty="0">
                <a:latin typeface="Cambria" panose="02040503050406030204" pitchFamily="18" charset="0"/>
              </a:rPr>
              <a:t>defect report</a:t>
            </a:r>
            <a:r>
              <a:rPr lang="en-US" sz="2400" dirty="0">
                <a:latin typeface="Cambria" panose="02040503050406030204" pitchFamily="18" charset="0"/>
              </a:rPr>
              <a:t> is the most effective manner of communicating, tracking, and explaining defects to managers and development staff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400" y="2819400"/>
            <a:ext cx="7848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 more logical, organized, and detailed the report, the more likely a developer can reproduce it without assistance or without having to request more information</a:t>
            </a:r>
            <a:r>
              <a:rPr lang="en-US" sz="2400" dirty="0" smtClean="0">
                <a:latin typeface="Cambria" panose="02040503050406030204" pitchFamily="18" charset="0"/>
              </a:rPr>
              <a:t>.</a:t>
            </a:r>
          </a:p>
          <a:p>
            <a:endParaRPr lang="en-US" sz="2400" dirty="0">
              <a:latin typeface="Cambria" panose="02040503050406030204" pitchFamily="18" charset="0"/>
            </a:endParaRPr>
          </a:p>
          <a:p>
            <a:r>
              <a:rPr lang="en-US" sz="2400" dirty="0" smtClean="0">
                <a:latin typeface="Cambria" panose="02040503050406030204" pitchFamily="18" charset="0"/>
              </a:rPr>
              <a:t>Defect - A problem which, If not corrected could cause an application to either fail or to produce incorrect results.</a:t>
            </a:r>
          </a:p>
        </p:txBody>
      </p:sp>
    </p:spTree>
    <p:extLst>
      <p:ext uri="{BB962C8B-B14F-4D97-AF65-F5344CB8AC3E}">
        <p14:creationId xmlns:p14="http://schemas.microsoft.com/office/powerpoint/2010/main" val="3204589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446" y="293189"/>
            <a:ext cx="7520940" cy="548640"/>
          </a:xfrm>
        </p:spPr>
        <p:txBody>
          <a:bodyPr anchor="ctr"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  <a:hlinkClick r:id="rId2" action="ppaction://hlinkfile"/>
              </a:rPr>
              <a:t>DEFECT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  <a:hlinkClick r:id="rId2" action="ppaction://hlinkfile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  <a:hlinkClick r:id="rId2" action="ppaction://hlinkfile"/>
              </a:rPr>
              <a:t>FREE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  <a:hlinkClick r:id="rId2" action="ppaction://hlinkfile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  <a:hlinkClick r:id="rId2" action="ppaction://hlinkfile"/>
              </a:rPr>
              <a:t>DEFECT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  <a:hlinkClick r:id="rId2" action="ppaction://hlinkfile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  <a:hlinkClick r:id="rId2" action="ppaction://hlinkfile"/>
              </a:rPr>
              <a:t>REPORT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070" y="1524000"/>
            <a:ext cx="909010" cy="1117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408" y="4724400"/>
            <a:ext cx="1435246" cy="10226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1171" y="3026805"/>
            <a:ext cx="1306848" cy="1335313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083693" y="1066800"/>
            <a:ext cx="7522754" cy="5029200"/>
          </a:xfrm>
        </p:spPr>
        <p:txBody>
          <a:bodyPr>
            <a:normAutofit fontScale="32500" lnSpcReduction="20000"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/>
              <a:t>Admin    </a:t>
            </a:r>
            <a:r>
              <a:rPr lang="en-US" sz="3600" dirty="0"/>
              <a:t>          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Admin Login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Add </a:t>
            </a:r>
            <a:r>
              <a:rPr lang="en-US" sz="4300" b="1" dirty="0" smtClean="0"/>
              <a:t>Hotel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Update Hotel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Delete Room                                                   </a:t>
            </a:r>
          </a:p>
          <a:p>
            <a:pPr marL="0" indent="0">
              <a:lnSpc>
                <a:spcPct val="120000"/>
              </a:lnSpc>
            </a:pPr>
            <a:endParaRPr lang="en-US" sz="2700" dirty="0"/>
          </a:p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/>
              <a:t>Employee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Employee Login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Search Hotel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pPr marL="0" indent="0">
              <a:lnSpc>
                <a:spcPct val="120000"/>
              </a:lnSpc>
            </a:pPr>
            <a:endParaRPr lang="en-US" sz="2700" dirty="0"/>
          </a:p>
          <a:p>
            <a:pPr>
              <a:lnSpc>
                <a:spcPct val="120000"/>
              </a:lnSpc>
              <a:buFont typeface="Wingdings" pitchFamily="2" charset="2"/>
              <a:buChar char="Ø"/>
            </a:pPr>
            <a:r>
              <a:rPr lang="en-US" sz="6000" dirty="0"/>
              <a:t>Customer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Customer Login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Search Hotel</a:t>
            </a:r>
          </a:p>
          <a:p>
            <a:pPr lvl="3">
              <a:lnSpc>
                <a:spcPct val="120000"/>
              </a:lnSpc>
              <a:buBlip>
                <a:blip r:embed="rId7"/>
              </a:buBlip>
            </a:pPr>
            <a:r>
              <a:rPr lang="en-US" sz="4300" b="1" dirty="0"/>
              <a:t>Book Rooms                                                  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730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    OBSERVATION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800" b="0" dirty="0" smtClean="0">
                <a:solidFill>
                  <a:schemeClr val="tx1"/>
                </a:solidFill>
                <a:latin typeface="Candara Bold" pitchFamily="34" charset="0"/>
              </a:rPr>
              <a:t>About UI:</a:t>
            </a:r>
          </a:p>
          <a:p>
            <a:pPr>
              <a:buBlip>
                <a:blip r:embed="rId2"/>
              </a:buBlip>
            </a:pPr>
            <a:r>
              <a:rPr lang="en-US" sz="1800" b="0" dirty="0" smtClean="0">
                <a:solidFill>
                  <a:schemeClr val="tx1"/>
                </a:solidFill>
              </a:rPr>
              <a:t>The look and feel is good.</a:t>
            </a: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The UI is not localized and user-friendly.</a:t>
            </a:r>
          </a:p>
          <a:p>
            <a:pPr marL="0" indent="0">
              <a:buNone/>
            </a:pPr>
            <a:endParaRPr lang="en-US" sz="1800" b="0" dirty="0" smtClean="0"/>
          </a:p>
          <a:p>
            <a:pPr>
              <a:buFont typeface="Wingdings" pitchFamily="2" charset="2"/>
              <a:buChar char="Ø"/>
            </a:pPr>
            <a:r>
              <a:rPr lang="en-US" sz="1800" b="0" dirty="0" smtClean="0">
                <a:solidFill>
                  <a:schemeClr val="tx1"/>
                </a:solidFill>
                <a:latin typeface="Candara Bold" pitchFamily="34" charset="0"/>
              </a:rPr>
              <a:t>Defects:</a:t>
            </a: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en-US" sz="1800" b="0" dirty="0" smtClean="0">
                <a:solidFill>
                  <a:schemeClr val="tx1"/>
                </a:solidFill>
              </a:rPr>
              <a:t>The functionalities don’t work as expected.</a:t>
            </a:r>
            <a:endParaRPr lang="en-US" sz="1800" b="0" dirty="0">
              <a:solidFill>
                <a:schemeClr val="tx1"/>
              </a:solidFill>
            </a:endParaRPr>
          </a:p>
          <a:p>
            <a:pPr>
              <a:buBlip>
                <a:blip r:embed="rId2"/>
              </a:buBlip>
            </a:pP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en-US" sz="1800" b="0" dirty="0" smtClean="0">
                <a:solidFill>
                  <a:schemeClr val="tx1"/>
                </a:solidFill>
              </a:rPr>
              <a:t>Pages are not redirected as expected.</a:t>
            </a:r>
          </a:p>
          <a:p>
            <a:pPr>
              <a:buBlip>
                <a:blip r:embed="rId2"/>
              </a:buBlip>
            </a:pPr>
            <a:r>
              <a:rPr lang="en-US" sz="1800" b="0" dirty="0" smtClean="0">
                <a:solidFill>
                  <a:schemeClr val="tx1"/>
                </a:solidFill>
              </a:rPr>
              <a:t> Error messages are inappropriate. </a:t>
            </a:r>
          </a:p>
          <a:p>
            <a:pPr>
              <a:buFont typeface="Wingdings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b="0" dirty="0" smtClean="0"/>
          </a:p>
          <a:p>
            <a:pPr marL="0" indent="0">
              <a:buNone/>
            </a:pPr>
            <a:endParaRPr lang="en-US" b="0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489" y="1330031"/>
            <a:ext cx="1908628" cy="2907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08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        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OBSERVATION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</a:t>
            </a:r>
            <a:r>
              <a:rPr lang="en-US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(contd..)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60" y="1100628"/>
            <a:ext cx="7696926" cy="4501886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endParaRPr lang="en-US" b="1" dirty="0" smtClean="0"/>
          </a:p>
          <a:p>
            <a:pPr>
              <a:buFont typeface="Wingdings" pitchFamily="2" charset="2"/>
              <a:buChar char="Ø"/>
            </a:pPr>
            <a:r>
              <a:rPr lang="en-US" sz="2100" b="0" dirty="0" smtClean="0">
                <a:solidFill>
                  <a:schemeClr val="tx1"/>
                </a:solidFill>
                <a:latin typeface="Candara Bold" pitchFamily="34" charset="0"/>
              </a:rPr>
              <a:t>Concern: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Validations need to be prioritized.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Exception handling need to be taken care of.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Response time should be less</a:t>
            </a:r>
            <a:r>
              <a:rPr lang="en-US" sz="2100" b="0" dirty="0" smtClean="0"/>
              <a:t>.</a:t>
            </a:r>
          </a:p>
          <a:p>
            <a:pPr marL="0" indent="0">
              <a:buNone/>
            </a:pPr>
            <a:endParaRPr lang="en-US" sz="2100" b="0" dirty="0"/>
          </a:p>
          <a:p>
            <a:pPr marL="0" indent="0">
              <a:buNone/>
            </a:pPr>
            <a:endParaRPr lang="en-US" sz="2100" b="0" dirty="0" smtClean="0"/>
          </a:p>
          <a:p>
            <a:pPr>
              <a:buFont typeface="Wingdings" pitchFamily="2" charset="2"/>
              <a:buChar char="Ø"/>
            </a:pPr>
            <a:r>
              <a:rPr lang="en-US" sz="2100" b="0" dirty="0" smtClean="0">
                <a:solidFill>
                  <a:schemeClr val="tx1"/>
                </a:solidFill>
                <a:latin typeface="Candara Bold" pitchFamily="34" charset="0"/>
              </a:rPr>
              <a:t>Security:</a:t>
            </a:r>
          </a:p>
          <a:p>
            <a:pPr>
              <a:buBlip>
                <a:blip r:embed="rId2"/>
              </a:buBlip>
            </a:pPr>
            <a:r>
              <a:rPr lang="en-US" sz="2100" b="0" dirty="0">
                <a:solidFill>
                  <a:schemeClr val="tx1"/>
                </a:solidFill>
              </a:rPr>
              <a:t> </a:t>
            </a:r>
            <a:r>
              <a:rPr lang="en-US" sz="2100" b="0" dirty="0" smtClean="0">
                <a:solidFill>
                  <a:schemeClr val="tx1"/>
                </a:solidFill>
              </a:rPr>
              <a:t>Password policy should be stringent. </a:t>
            </a:r>
          </a:p>
          <a:p>
            <a:pPr>
              <a:buFont typeface="Wingdings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`</a:t>
            </a:r>
            <a:endParaRPr lang="en-US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3961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Test Case Adequacy :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3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Adequacy :</a:t>
            </a:r>
          </a:p>
          <a:p>
            <a:pPr marL="0" indent="0">
              <a:buNone/>
            </a:pPr>
            <a:endParaRPr lang="en-US" sz="3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This metrics defines the number of actual test cases created vs. the estimated test cases at the end of the test case preparation phase</a:t>
            </a:r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lvl="2"/>
            <a:endParaRPr lang="en-US" sz="18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dequacy = (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No. of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ctual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s*100) / ( No. of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			    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s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estimated)</a:t>
            </a: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en-US" sz="2400" b="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Test case 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dequacy  = </a:t>
            </a:r>
            <a:r>
              <a:rPr lang="en-US" sz="2400" b="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245*100</a:t>
            </a:r>
            <a:r>
              <a:rPr lang="en-US" sz="2400" b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/500</a:t>
            </a:r>
          </a:p>
          <a:p>
            <a:pPr marL="2743200" lvl="6" indent="0">
              <a:buNone/>
            </a:pPr>
            <a:r>
              <a:rPr lang="en-US" sz="2400" dirty="0">
                <a:latin typeface="Arial Narrow" panose="020B0606020202030204" pitchFamily="34" charset="0"/>
                <a:cs typeface="Times New Roman" panose="02020603050405020304" pitchFamily="18" charset="0"/>
              </a:rPr>
              <a:t>   = </a:t>
            </a:r>
            <a:r>
              <a:rPr lang="en-US" sz="24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49</a:t>
            </a:r>
            <a:endParaRPr lang="en-US" sz="24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13483851"/>
              </p:ext>
            </p:extLst>
          </p:nvPr>
        </p:nvGraphicFramePr>
        <p:xfrm>
          <a:off x="1066800" y="1524000"/>
          <a:ext cx="6781800" cy="47074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0900"/>
                <a:gridCol w="3390900"/>
              </a:tblGrid>
              <a:tr h="516467">
                <a:tc>
                  <a:txBody>
                    <a:bodyPr/>
                    <a:lstStyle/>
                    <a:p>
                      <a:r>
                        <a:rPr lang="en-US" sz="3200" dirty="0" smtClean="0"/>
                        <a:t>Employee</a:t>
                      </a:r>
                      <a:r>
                        <a:rPr lang="en-US" sz="3200" baseline="0" dirty="0" smtClean="0"/>
                        <a:t> </a:t>
                      </a:r>
                      <a:r>
                        <a:rPr lang="en-US" sz="3200" dirty="0" smtClean="0"/>
                        <a:t>Name</a:t>
                      </a:r>
                      <a:endParaRPr lang="en-US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3200" dirty="0" smtClean="0"/>
                        <a:t>Employee ID</a:t>
                      </a:r>
                      <a:endParaRPr lang="en-US" sz="3200" dirty="0"/>
                    </a:p>
                  </a:txBody>
                  <a:tcPr/>
                </a:tc>
              </a:tr>
              <a:tr h="516467">
                <a:tc>
                  <a:txBody>
                    <a:bodyPr/>
                    <a:lstStyle/>
                    <a:p>
                      <a:r>
                        <a:rPr lang="en-US" sz="24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rishikesh</a:t>
                      </a:r>
                      <a:r>
                        <a:rPr lang="en-US" sz="24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 </a:t>
                      </a:r>
                      <a:r>
                        <a:rPr lang="en-US" sz="24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vanur</a:t>
                      </a:r>
                      <a:r>
                        <a:rPr lang="en-US" sz="24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T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16467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Amol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400" baseline="0" dirty="0" err="1" smtClean="0">
                          <a:solidFill>
                            <a:schemeClr val="tx1"/>
                          </a:solidFill>
                        </a:rPr>
                        <a:t>Hadkar</a:t>
                      </a:r>
                      <a:endParaRPr lang="en-US" sz="2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16467">
                <a:tc>
                  <a:txBody>
                    <a:bodyPr/>
                    <a:lstStyle/>
                    <a:p>
                      <a:r>
                        <a:rPr lang="en-US" sz="2400" dirty="0" err="1" smtClean="0">
                          <a:solidFill>
                            <a:schemeClr val="tx1"/>
                          </a:solidFill>
                        </a:rPr>
                        <a:t>Gowtham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A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16467">
                <a:tc>
                  <a:txBody>
                    <a:bodyPr/>
                    <a:lstStyle/>
                    <a:p>
                      <a:r>
                        <a:rPr lang="en-US" sz="24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nisha</a:t>
                      </a:r>
                      <a:r>
                        <a:rPr lang="en-US" sz="24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 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030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manujam</a:t>
                      </a:r>
                      <a:r>
                        <a:rPr lang="en-US" sz="24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4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vakumar</a:t>
                      </a:r>
                      <a:endParaRPr lang="en-US" sz="24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72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err="1" smtClean="0">
                          <a:solidFill>
                            <a:schemeClr val="tx1"/>
                          </a:solidFill>
                        </a:rPr>
                        <a:t>Bhavana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C</a:t>
                      </a:r>
                      <a:endParaRPr lang="en-US" sz="24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164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hammed </a:t>
                      </a:r>
                      <a:r>
                        <a:rPr lang="en-US" sz="24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ik</a:t>
                      </a:r>
                      <a:r>
                        <a:rPr lang="en-US" sz="24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k 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093947_FS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16467"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343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Test Case Effectiveness: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  <a:p>
            <a:pPr marL="137160"/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metrics define the effectiveness of the test cases which is measured in terms of the number of defects found in testing with using the test case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ectiveness = No. of Defects found / No. of Test 				cases execute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/245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	         =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.02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raceabililty</a:t>
            </a:r>
            <a:r>
              <a:rPr lang="en-US" dirty="0" smtClean="0"/>
              <a:t> Matrix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90661043"/>
              </p:ext>
            </p:extLst>
          </p:nvPr>
        </p:nvGraphicFramePr>
        <p:xfrm>
          <a:off x="457200" y="1600200"/>
          <a:ext cx="8229600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est Case </a:t>
                      </a:r>
                      <a:r>
                        <a:rPr lang="en-US" dirty="0" smtClean="0"/>
                        <a:t>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Req_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BR</a:t>
                      </a:r>
                      <a:r>
                        <a:rPr lang="en-US" baseline="0" smtClean="0"/>
                        <a:t> Id</a:t>
                      </a:r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3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2.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4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5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05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Emp_0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1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User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14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4.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14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3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C_HBMS_20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Q_2.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_AD_0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8600" y="55354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TEST CASES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7713" y="1447800"/>
            <a:ext cx="83114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Cambria" panose="02040503050406030204" pitchFamily="18" charset="0"/>
              </a:rPr>
              <a:t>Testing is a process that helps in finding out how well the product works:</a:t>
            </a:r>
          </a:p>
          <a:p>
            <a:r>
              <a:rPr lang="en-US" sz="2400" dirty="0" smtClean="0">
                <a:latin typeface="Cambria" panose="02040503050406030204" pitchFamily="18" charset="0"/>
              </a:rPr>
              <a:t>Aimed at finding defects.</a:t>
            </a:r>
          </a:p>
          <a:p>
            <a:endParaRPr lang="en-US" sz="2400" dirty="0" smtClean="0">
              <a:latin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lack of qualit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the gap between specification and actual produc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building faith in the end product that gives advise on quality and risk.</a:t>
            </a:r>
            <a:endParaRPr lang="en-US" sz="24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589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TEST CASES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</a:rPr>
              <a:t>Admin    </a:t>
            </a:r>
            <a:r>
              <a:rPr lang="en-US" sz="3600" b="1" dirty="0"/>
              <a:t>          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min Login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Update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Delete Hotel</a:t>
            </a:r>
          </a:p>
          <a:p>
            <a:pPr marL="466344" lvl="3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/>
              <a:t>Employee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Employee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  <a:endParaRPr lang="en-US" sz="4300" b="1" dirty="0"/>
          </a:p>
          <a:p>
            <a:pPr marL="0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/>
              <a:t>Customer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Customer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</a:p>
          <a:p>
            <a:endParaRPr lang="en-US" sz="4300" dirty="0" smtClean="0"/>
          </a:p>
          <a:p>
            <a:endParaRPr lang="en-US" sz="4300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904" y="1676400"/>
            <a:ext cx="909010" cy="1117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339" y="4572000"/>
            <a:ext cx="1435246" cy="10226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0504" y="2926762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026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       </a:t>
            </a:r>
            <a:r>
              <a:rPr lang="en-US" b="1" dirty="0" smtClean="0">
                <a:solidFill>
                  <a:schemeClr val="tx1"/>
                </a:solidFill>
                <a:latin typeface="Candara Bold" pitchFamily="34" charset="0"/>
              </a:rPr>
              <a:t>CONCLUSION</a:t>
            </a:r>
            <a:endParaRPr lang="en-US" b="1" dirty="0">
              <a:solidFill>
                <a:schemeClr val="tx1"/>
              </a:solidFill>
              <a:latin typeface="Candara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771" y="886733"/>
            <a:ext cx="8483600" cy="1769382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pPr>
              <a:buBlip>
                <a:blip r:embed="rId3"/>
              </a:buBlip>
            </a:pP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ereby conclude that the application needs to improve its  functionality, validation , security , performance and maintenance issues.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Users\bsallapu\Downloads\capgemini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Users\darraj\Desktop\CONCLUSION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617" y="2872695"/>
            <a:ext cx="4834617" cy="321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4518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 dirty="0"/>
          </a:p>
        </p:txBody>
      </p:sp>
      <p:pic>
        <p:nvPicPr>
          <p:cNvPr id="4098" name="Picture 2" descr="C:\Users\darraj\Desktop\3D-Man-Animated-Questions-Blue-origina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0038" y="-233363"/>
            <a:ext cx="9744076" cy="7324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5822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 rot="20398221">
            <a:off x="315686" y="2667000"/>
            <a:ext cx="8447314" cy="1190317"/>
          </a:xfrm>
          <a:prstGeom prst="rect">
            <a:avLst/>
          </a:prstGeom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8000" b="1" i="1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</a:t>
            </a:r>
            <a:endParaRPr lang="en-US" sz="8000" b="1" i="1" dirty="0">
              <a:solidFill>
                <a:schemeClr val="tx2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122" name="Picture 2" descr="C:\Users\darraj\Desktop\Thank_you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36" y="539977"/>
            <a:ext cx="7429500" cy="4181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97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2060"/>
                </a:solidFill>
                <a:latin typeface="Candara Bold" pitchFamily="34" charset="0"/>
              </a:rPr>
              <a:t>OVERVIEW</a:t>
            </a:r>
            <a:endParaRPr lang="en-US" dirty="0">
              <a:solidFill>
                <a:srgbClr val="002060"/>
              </a:solidFill>
              <a:latin typeface="Candara Bold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67657" y="1129656"/>
            <a:ext cx="8171543" cy="435674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This project is aimed at testing an online </a:t>
            </a:r>
            <a:r>
              <a:rPr lang="en-US" dirty="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Hotel </a:t>
            </a: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Bookings Management </a:t>
            </a:r>
            <a:r>
              <a:rPr lang="en-US" dirty="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System (HBMS</a:t>
            </a: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). </a:t>
            </a:r>
            <a:endParaRPr lang="en-US" dirty="0" smtClean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This is a web based application </a:t>
            </a:r>
            <a:r>
              <a:rPr lang="en-US" dirty="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30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This </a:t>
            </a: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system can be used to search for Hotel </a:t>
            </a:r>
            <a:r>
              <a:rPr lang="en-US" dirty="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rooms with or without flight and cab booking </a:t>
            </a: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and reserve them. </a:t>
            </a:r>
            <a:endParaRPr lang="en-US" dirty="0" smtClean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This is an integrated system that contains both the </a:t>
            </a:r>
            <a:r>
              <a:rPr lang="en-US" dirty="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ustomer </a:t>
            </a:r>
            <a:r>
              <a:rPr lang="en-US" dirty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omponent, Hotel-Employee component and the Admin component</a:t>
            </a:r>
            <a:r>
              <a:rPr lang="en-US" dirty="0">
                <a:latin typeface="Trebuchet MS" panose="020B0603020202020204" pitchFamily="34" charset="0"/>
                <a:cs typeface="Arial" panose="020B0604020202020204" pitchFamily="34" charset="0"/>
              </a:rPr>
              <a:t>.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3937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>
            <a:noAutofit/>
          </a:bodyPr>
          <a:lstStyle/>
          <a:p>
            <a:r>
              <a:rPr lang="en-US" sz="6600" b="1" dirty="0" smtClean="0"/>
              <a:t>Actors</a:t>
            </a:r>
            <a:endParaRPr lang="en-US" sz="6600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438694" y="615403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020312" y="1133390"/>
            <a:ext cx="227337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Admin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393609" y="2909012"/>
            <a:ext cx="747218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Hotel Employee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pic>
        <p:nvPicPr>
          <p:cNvPr id="1026" name="Picture 2" descr="C:\Program Files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899" y="985438"/>
            <a:ext cx="1565336" cy="159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Program Files\Microsoft Office\MEDIA\CAGCAT10\j029202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3691" y="2220023"/>
            <a:ext cx="1766985" cy="1677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all varun\varun_102413_certificates\New folder\hote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832342"/>
            <a:ext cx="2590800" cy="2704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3810000" y="4748594"/>
            <a:ext cx="3795768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Customer</a:t>
            </a:r>
            <a:endParaRPr lang="en-US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3015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944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FUNCTIONALITIES  </a:t>
            </a:r>
            <a:r>
              <a:rPr lang="en-US" dirty="0">
                <a:solidFill>
                  <a:schemeClr val="tx1"/>
                </a:solidFill>
                <a:latin typeface="Candara Bold" pitchFamily="34" charset="0"/>
              </a:rPr>
              <a:t>OF ADMIN</a:t>
            </a:r>
            <a:endParaRPr lang="en-US" dirty="0">
              <a:latin typeface="Candara Bold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34380269"/>
              </p:ext>
            </p:extLst>
          </p:nvPr>
        </p:nvGraphicFramePr>
        <p:xfrm>
          <a:off x="529771" y="1202851"/>
          <a:ext cx="8048171" cy="4389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576784" y="1541475"/>
            <a:ext cx="1436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</a:t>
            </a:r>
            <a:endParaRPr lang="en-US" sz="2400" b="1" dirty="0">
              <a:latin typeface="Candara" pitchFamily="34" charset="0"/>
              <a:cs typeface="Aharoni" pitchFamily="2" charset="-79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42234" y="2474240"/>
            <a:ext cx="9669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Room</a:t>
            </a:r>
            <a:endParaRPr lang="en-US" b="1" dirty="0">
              <a:latin typeface="Candara" pitchFamily="34" charset="0"/>
              <a:cs typeface="Aharoni" pitchFamily="2" charset="-79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42232" y="3764955"/>
            <a:ext cx="9060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</a:t>
            </a:r>
            <a:r>
              <a:rPr lang="en-US" sz="2400" b="1" dirty="0">
                <a:latin typeface="Candara" pitchFamily="34" charset="0"/>
                <a:cs typeface="Aharoni" pitchFamily="2" charset="-79"/>
              </a:rPr>
              <a:t>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42231" y="4916658"/>
            <a:ext cx="9060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andara" pitchFamily="34" charset="0"/>
                <a:cs typeface="Aharoni" pitchFamily="2" charset="-79"/>
              </a:rPr>
              <a:t>Hotel</a:t>
            </a:r>
            <a:endParaRPr lang="en-US" b="1" dirty="0">
              <a:latin typeface="Candara" pitchFamily="34" charset="0"/>
              <a:cs typeface="Aharoni" pitchFamily="2" charset="-79"/>
            </a:endParaRPr>
          </a:p>
        </p:txBody>
      </p:sp>
      <p:pic>
        <p:nvPicPr>
          <p:cNvPr id="11" name="Picture 2" descr="C:\Users\bsallapu\Downloads\capgemini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5231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9829" y="275771"/>
            <a:ext cx="6429829" cy="696686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FUNCTIONALITIES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 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OF</a:t>
            </a:r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 Bold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EMPLOYEE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pic>
        <p:nvPicPr>
          <p:cNvPr id="5" name="Picture 2" descr="C:\Users\bsallapu\Downloads\capgemin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4261635"/>
              </p:ext>
            </p:extLst>
          </p:nvPr>
        </p:nvGraphicFramePr>
        <p:xfrm>
          <a:off x="778782" y="1274310"/>
          <a:ext cx="7521575" cy="3579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5865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114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Candara Bold" pitchFamily="34" charset="0"/>
              </a:rPr>
              <a:t>FUNCTIONALITIES </a:t>
            </a:r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OF CUSTOMER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8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8378454"/>
              </p:ext>
            </p:extLst>
          </p:nvPr>
        </p:nvGraphicFramePr>
        <p:xfrm>
          <a:off x="778782" y="1274310"/>
          <a:ext cx="7521575" cy="3579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302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8600" y="55354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TEST CASES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7713" y="1447800"/>
            <a:ext cx="83114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Cambria" panose="02040503050406030204" pitchFamily="18" charset="0"/>
              </a:rPr>
              <a:t>Testing is a process that helps in finding out how well the product works:</a:t>
            </a:r>
          </a:p>
          <a:p>
            <a:r>
              <a:rPr lang="en-US" sz="2400" dirty="0" smtClean="0">
                <a:latin typeface="Cambria" panose="02040503050406030204" pitchFamily="18" charset="0"/>
              </a:rPr>
              <a:t>Aimed at finding defects.</a:t>
            </a:r>
          </a:p>
          <a:p>
            <a:endParaRPr lang="en-US" sz="2400" dirty="0" smtClean="0">
              <a:latin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lack of qualit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the gap between specification and actual produc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building faith in the end product that gives advise on quality and risk.</a:t>
            </a:r>
            <a:endParaRPr lang="en-US" sz="24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067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tx1"/>
                </a:solidFill>
                <a:latin typeface="Candara Bold" pitchFamily="34" charset="0"/>
              </a:rPr>
              <a:t>      TEST CASES</a:t>
            </a:r>
            <a:endParaRPr lang="en-US" dirty="0">
              <a:solidFill>
                <a:schemeClr val="tx1"/>
              </a:solidFill>
              <a:latin typeface="Candara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6000" b="1" dirty="0">
                <a:solidFill>
                  <a:schemeClr val="tx1"/>
                </a:solidFill>
              </a:rPr>
              <a:t>Admin    </a:t>
            </a:r>
            <a:r>
              <a:rPr lang="en-US" sz="3600" b="1" dirty="0"/>
              <a:t>          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min Login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Flight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Add Hotel with Cab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Update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Delete Hotel</a:t>
            </a:r>
          </a:p>
          <a:p>
            <a:pPr marL="466344" lvl="3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 smtClean="0"/>
              <a:t>Employee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Employee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  <a:endParaRPr lang="en-US" sz="4300" b="1" dirty="0"/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  <a:endParaRPr lang="en-US" sz="4300" b="1" dirty="0"/>
          </a:p>
          <a:p>
            <a:pPr marL="0" indent="0">
              <a:buNone/>
            </a:pPr>
            <a:endParaRPr lang="en-US" sz="2700" dirty="0"/>
          </a:p>
          <a:p>
            <a:pPr>
              <a:buFont typeface="Wingdings" pitchFamily="2" charset="2"/>
              <a:buChar char="Ø"/>
            </a:pPr>
            <a:r>
              <a:rPr lang="en-US" sz="6000" dirty="0"/>
              <a:t>Customer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Customer </a:t>
            </a:r>
            <a:r>
              <a:rPr lang="en-US" sz="4300" b="1" dirty="0"/>
              <a:t>Login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Search Hotel</a:t>
            </a:r>
          </a:p>
          <a:p>
            <a:pPr lvl="3">
              <a:buBlip>
                <a:blip r:embed="rId2"/>
              </a:buBlip>
            </a:pPr>
            <a:r>
              <a:rPr lang="en-US" sz="4300" b="1" dirty="0" smtClean="0"/>
              <a:t>Book Rooms</a:t>
            </a:r>
          </a:p>
          <a:p>
            <a:endParaRPr lang="en-US" sz="4300" dirty="0" smtClean="0"/>
          </a:p>
          <a:p>
            <a:endParaRPr lang="en-US" sz="4300" dirty="0"/>
          </a:p>
        </p:txBody>
      </p:sp>
      <p:pic>
        <p:nvPicPr>
          <p:cNvPr id="4" name="Picture 2" descr="C:\Users\bsallapu\Downloads\capgemin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34" y="6192078"/>
            <a:ext cx="2301766" cy="665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715" y="1818203"/>
            <a:ext cx="909010" cy="1117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339" y="4648200"/>
            <a:ext cx="1435246" cy="10226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3610" y="3040038"/>
            <a:ext cx="1306848" cy="13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4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3</TotalTime>
  <Words>823</Words>
  <Application>Microsoft Office PowerPoint</Application>
  <PresentationFormat>On-screen Show (4:3)</PresentationFormat>
  <Paragraphs>266</Paragraphs>
  <Slides>26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Executive</vt:lpstr>
      <vt:lpstr>Office Theme</vt:lpstr>
      <vt:lpstr>HOTEL  BOOKING MANAGEMENT                SYSTEM </vt:lpstr>
      <vt:lpstr>TEAM MEMBERS</vt:lpstr>
      <vt:lpstr>OVERVIEW</vt:lpstr>
      <vt:lpstr>Actors</vt:lpstr>
      <vt:lpstr>FUNCTIONALITIES  OF ADMIN</vt:lpstr>
      <vt:lpstr>FUNCTIONALITIES   OF EMPLOYEE</vt:lpstr>
      <vt:lpstr>FUNCTIONALITIES   OF CUSTOMER</vt:lpstr>
      <vt:lpstr>PowerPoint Presentation</vt:lpstr>
      <vt:lpstr>      TEST CASES</vt:lpstr>
      <vt:lpstr>Requirement Itemization</vt:lpstr>
      <vt:lpstr>REQUIREMENTS VALIDATION AND FUNCTIONAL DECOMPOSITION</vt:lpstr>
      <vt:lpstr>PowerPoint Presentation</vt:lpstr>
      <vt:lpstr>Use Case </vt:lpstr>
      <vt:lpstr>             USE CASES</vt:lpstr>
      <vt:lpstr>Defect report</vt:lpstr>
      <vt:lpstr>      DEFECT FREE DEFECT REPORT</vt:lpstr>
      <vt:lpstr>          OBSERVATION</vt:lpstr>
      <vt:lpstr>          OBSERVATION (contd..)</vt:lpstr>
      <vt:lpstr>Test Case Adequacy :</vt:lpstr>
      <vt:lpstr>Test Case Effectiveness:</vt:lpstr>
      <vt:lpstr>Traceabililty Matrix</vt:lpstr>
      <vt:lpstr>PowerPoint Presentation</vt:lpstr>
      <vt:lpstr>      TEST CASES</vt:lpstr>
      <vt:lpstr>             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Mohammed Asik, K</cp:lastModifiedBy>
  <cp:revision>183</cp:revision>
  <dcterms:created xsi:type="dcterms:W3CDTF">2015-08-27T08:52:20Z</dcterms:created>
  <dcterms:modified xsi:type="dcterms:W3CDTF">2018-01-20T11:12:04Z</dcterms:modified>
</cp:coreProperties>
</file>